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14"/>
  </p:notesMasterIdLst>
  <p:sldIdLst>
    <p:sldId id="268" r:id="rId4"/>
    <p:sldId id="257" r:id="rId5"/>
    <p:sldId id="269" r:id="rId6"/>
    <p:sldId id="264" r:id="rId7"/>
    <p:sldId id="266" r:id="rId8"/>
    <p:sldId id="270" r:id="rId9"/>
    <p:sldId id="265" r:id="rId10"/>
    <p:sldId id="260" r:id="rId11"/>
    <p:sldId id="273" r:id="rId12"/>
    <p:sldId id="274" r:id="rId13"/>
  </p:sldIdLst>
  <p:sldSz cx="9144000" cy="6858000" type="screen4x3"/>
  <p:notesSz cx="6858000" cy="9947275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F3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75" autoAdjust="0"/>
    <p:restoredTop sz="94660"/>
  </p:normalViewPr>
  <p:slideViewPr>
    <p:cSldViewPr>
      <p:cViewPr varScale="1">
        <p:scale>
          <a:sx n="110" d="100"/>
          <a:sy n="110" d="100"/>
        </p:scale>
        <p:origin x="1788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SharshovSI\Desktop\&#1050;&#1110;&#1083;&#1100;&#1082;&#1110;&#1089;&#1090;&#1100;%20&#1054;&#1058;&#1043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0638030959523017E-2"/>
          <c:y val="2.6461399183874464E-2"/>
          <c:w val="0.76061490852868208"/>
          <c:h val="0.9257481150743011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'[Кількість ОТГ.xlsx]Аркуш5'!$A$2</c:f>
              <c:strCache>
                <c:ptCount val="1"/>
                <c:pt idx="0">
                  <c:v>Субвенція на соц.економ розвиток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32C-4AEB-9F4E-F1294AA6A90C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32C-4AEB-9F4E-F1294AA6A90C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32C-4AEB-9F4E-F1294AA6A90C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32C-4AEB-9F4E-F1294AA6A90C}"/>
              </c:ext>
            </c:extLst>
          </c:dPt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2:$E$2</c:f>
              <c:numCache>
                <c:formatCode>General</c:formatCode>
                <c:ptCount val="4"/>
                <c:pt idx="0">
                  <c:v>0.5</c:v>
                </c:pt>
                <c:pt idx="1">
                  <c:v>0.8</c:v>
                </c:pt>
                <c:pt idx="2">
                  <c:v>3.3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32C-4AEB-9F4E-F1294AA6A90C}"/>
            </c:ext>
          </c:extLst>
        </c:ser>
        <c:ser>
          <c:idx val="1"/>
          <c:order val="1"/>
          <c:tx>
            <c:strRef>
              <c:f>'[Кількість ОТГ.xlsx]Аркуш5'!$A$3</c:f>
              <c:strCache>
                <c:ptCount val="1"/>
                <c:pt idx="0">
                  <c:v>Державний фонд регіонального розвитку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3:$E$3</c:f>
              <c:numCache>
                <c:formatCode>General</c:formatCode>
                <c:ptCount val="4"/>
                <c:pt idx="1">
                  <c:v>2.9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32C-4AEB-9F4E-F1294AA6A90C}"/>
            </c:ext>
          </c:extLst>
        </c:ser>
        <c:ser>
          <c:idx val="2"/>
          <c:order val="2"/>
          <c:tx>
            <c:strRef>
              <c:f>'[Кількість ОТГ.xlsx]Аркуш5'!$A$4</c:f>
              <c:strCache>
                <c:ptCount val="1"/>
                <c:pt idx="0">
                  <c:v>Субвенція на інфраструктуру об"єднаних територіальних громад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4:$E$4</c:f>
              <c:numCache>
                <c:formatCode>General</c:formatCode>
                <c:ptCount val="4"/>
                <c:pt idx="2">
                  <c:v>1</c:v>
                </c:pt>
                <c:pt idx="3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732C-4AEB-9F4E-F1294AA6A9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5099416"/>
        <c:axId val="135099808"/>
        <c:axId val="0"/>
      </c:bar3DChart>
      <c:catAx>
        <c:axId val="135099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uk-UA"/>
          </a:p>
        </c:txPr>
        <c:crossAx val="135099808"/>
        <c:crosses val="autoZero"/>
        <c:auto val="1"/>
        <c:lblAlgn val="ctr"/>
        <c:lblOffset val="100"/>
        <c:noMultiLvlLbl val="0"/>
      </c:catAx>
      <c:valAx>
        <c:axId val="1350998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350994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912810613635521"/>
          <c:y val="0.21315636633392837"/>
          <c:w val="0.19182729696700368"/>
          <c:h val="0.66708217271151138"/>
        </c:manualLayout>
      </c:layout>
      <c:overlay val="0"/>
      <c:txPr>
        <a:bodyPr/>
        <a:lstStyle/>
        <a:p>
          <a:pPr>
            <a:defRPr sz="1200"/>
          </a:pPr>
          <a:endParaRPr lang="uk-UA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33</cdr:x>
      <cdr:y>0.87634</cdr:y>
    </cdr:from>
    <cdr:to>
      <cdr:x>0.16667</cdr:x>
      <cdr:y>0.92577</cdr:y>
    </cdr:to>
    <cdr:sp macro="" textlink="">
      <cdr:nvSpPr>
        <cdr:cNvPr id="2" name="Прямокутник 1"/>
        <cdr:cNvSpPr/>
      </cdr:nvSpPr>
      <cdr:spPr>
        <a:xfrm xmlns:a="http://schemas.openxmlformats.org/drawingml/2006/main">
          <a:off x="951676" y="4467757"/>
          <a:ext cx="512516" cy="252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uk-UA" sz="1200" b="1" dirty="0">
              <a:solidFill>
                <a:schemeClr val="tx1"/>
              </a:solidFill>
            </a:rPr>
            <a:t>  0,5</a:t>
          </a:r>
        </a:p>
      </cdr:txBody>
    </cdr:sp>
  </cdr:relSizeAnchor>
  <cdr:relSizeAnchor xmlns:cdr="http://schemas.openxmlformats.org/drawingml/2006/chartDrawing">
    <cdr:from>
      <cdr:x>0.625</cdr:x>
      <cdr:y>0.66216</cdr:y>
    </cdr:from>
    <cdr:to>
      <cdr:x>0.68333</cdr:x>
      <cdr:y>1</cdr:y>
    </cdr:to>
    <cdr:sp macro="" textlink="">
      <cdr:nvSpPr>
        <cdr:cNvPr id="3" name="Прямокутник 2"/>
        <cdr:cNvSpPr/>
      </cdr:nvSpPr>
      <cdr:spPr>
        <a:xfrm xmlns:a="http://schemas.openxmlformats.org/drawingml/2006/main" flipH="1">
          <a:off x="5490602" y="3528392"/>
          <a:ext cx="512457" cy="1800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b="1" dirty="0">
              <a:solidFill>
                <a:schemeClr val="tx1"/>
              </a:solidFill>
            </a:rPr>
            <a:t>   </a:t>
          </a:r>
          <a:r>
            <a:rPr lang="uk-UA" sz="1200" b="1" dirty="0">
              <a:solidFill>
                <a:schemeClr val="tx1"/>
              </a:solidFill>
            </a:rPr>
            <a:t>4,0</a:t>
          </a:r>
        </a:p>
      </cdr:txBody>
    </cdr:sp>
  </cdr:relSizeAnchor>
  <cdr:relSizeAnchor xmlns:cdr="http://schemas.openxmlformats.org/drawingml/2006/chartDrawing">
    <cdr:from>
      <cdr:x>0.45833</cdr:x>
      <cdr:y>0.68919</cdr:y>
    </cdr:from>
    <cdr:to>
      <cdr:x>0.51667</cdr:x>
      <cdr:y>0.75676</cdr:y>
    </cdr:to>
    <cdr:sp macro="" textlink="">
      <cdr:nvSpPr>
        <cdr:cNvPr id="4" name="Прямокутник 3"/>
        <cdr:cNvSpPr/>
      </cdr:nvSpPr>
      <cdr:spPr>
        <a:xfrm xmlns:a="http://schemas.openxmlformats.org/drawingml/2006/main">
          <a:off x="3960440" y="3672408"/>
          <a:ext cx="504056" cy="36004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b="1" dirty="0">
              <a:solidFill>
                <a:schemeClr val="tx1"/>
              </a:solidFill>
            </a:rPr>
            <a:t>  </a:t>
          </a:r>
          <a:r>
            <a:rPr lang="uk-UA" sz="1200" b="1" dirty="0">
              <a:solidFill>
                <a:schemeClr val="tx1"/>
              </a:solidFill>
            </a:rPr>
            <a:t>3,3</a:t>
          </a:r>
        </a:p>
      </cdr:txBody>
    </cdr:sp>
  </cdr:relSizeAnchor>
  <cdr:relSizeAnchor xmlns:cdr="http://schemas.openxmlformats.org/drawingml/2006/chartDrawing">
    <cdr:from>
      <cdr:x>0.29167</cdr:x>
      <cdr:y>0.64865</cdr:y>
    </cdr:from>
    <cdr:to>
      <cdr:x>0.34167</cdr:x>
      <cdr:y>0.7027</cdr:y>
    </cdr:to>
    <cdr:sp macro="" textlink="">
      <cdr:nvSpPr>
        <cdr:cNvPr id="5" name="Прямокутник 4"/>
        <cdr:cNvSpPr/>
      </cdr:nvSpPr>
      <cdr:spPr>
        <a:xfrm xmlns:a="http://schemas.openxmlformats.org/drawingml/2006/main" flipH="1">
          <a:off x="2520280" y="3456384"/>
          <a:ext cx="432048" cy="2880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200" b="1" dirty="0">
              <a:solidFill>
                <a:schemeClr val="tx1"/>
              </a:solidFill>
            </a:rPr>
            <a:t>2,9</a:t>
          </a:r>
        </a:p>
      </cdr:txBody>
    </cdr:sp>
  </cdr:relSizeAnchor>
  <cdr:relSizeAnchor xmlns:cdr="http://schemas.openxmlformats.org/drawingml/2006/chartDrawing">
    <cdr:from>
      <cdr:x>0.8189</cdr:x>
      <cdr:y>0.10512</cdr:y>
    </cdr:from>
    <cdr:to>
      <cdr:x>0.96644</cdr:x>
      <cdr:y>0.1757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7194021" y="535903"/>
          <a:ext cx="1296144" cy="360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uk-UA" sz="1600" b="1" dirty="0"/>
            <a:t>млрд. грн. 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9D493D-57A4-4908-8D4A-19B75D24217A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DB974F-7BD8-49BD-83F0-44F529587EDF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60652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67827D-DDC2-4C6C-A55E-E5358E3DF2AB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454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0512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435350" y="849313"/>
            <a:ext cx="3057525" cy="2293937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548200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28019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53800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/>
              <a:t>Зразок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044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 userDrawn="1"/>
        </p:nvSpPr>
        <p:spPr>
          <a:xfrm>
            <a:off x="1258888" y="387350"/>
            <a:ext cx="7345362" cy="73818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solidFill>
                  <a:prstClr val="white"/>
                </a:solidFill>
              </a:rPr>
              <a:t>МІНІСТЕРСТВО РЕГІОНАЛЬНОГО РОЗВИТКУ</a:t>
            </a:r>
          </a:p>
        </p:txBody>
      </p:sp>
    </p:spTree>
    <p:extLst>
      <p:ext uri="{BB962C8B-B14F-4D97-AF65-F5344CB8AC3E}">
        <p14:creationId xmlns:p14="http://schemas.microsoft.com/office/powerpoint/2010/main" val="2181443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143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4C8C96D-F6F1-4B7E-95CF-1A91D8C942B7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9484" y="1199760"/>
            <a:ext cx="7671521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600" y="6311912"/>
            <a:ext cx="788988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9DE047-2961-4623-B7F7-AE98B42998D0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65318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8B9728F-861D-4F56-A866-9F5629174BC0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9484" y="1199760"/>
            <a:ext cx="7671521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600" y="6311912"/>
            <a:ext cx="788988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44AAB8-6D46-40D7-B4DB-57112B525F6B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925479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250827" y="6453188"/>
            <a:ext cx="8642350" cy="0"/>
          </a:xfrm>
          <a:prstGeom prst="line">
            <a:avLst/>
          </a:prstGeom>
          <a:ln w="1905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35"/>
          <p:cNvCxnSpPr>
            <a:cxnSpLocks noChangeShapeType="1"/>
          </p:cNvCxnSpPr>
          <p:nvPr userDrawn="1"/>
        </p:nvCxnSpPr>
        <p:spPr bwMode="auto">
          <a:xfrm>
            <a:off x="0" y="765175"/>
            <a:ext cx="9144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251520" y="836712"/>
            <a:ext cx="8640960" cy="54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3"/>
          </p:nvPr>
        </p:nvSpPr>
        <p:spPr>
          <a:xfrm>
            <a:off x="250827" y="6237336"/>
            <a:ext cx="8642350" cy="2160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235825" y="6524625"/>
            <a:ext cx="1657350" cy="293688"/>
          </a:xfrm>
          <a:prstGeom prst="rect">
            <a:avLst/>
          </a:prstGeom>
        </p:spPr>
        <p:txBody>
          <a:bodyPr/>
          <a:lstStyle>
            <a:lvl1pPr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E420E9B-5F95-4CCD-BAA5-A1FB06EE90F6}" type="slidenum">
              <a:rPr lang="ru-RU"/>
              <a:pPr>
                <a:defRPr/>
              </a:pPr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2749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76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63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6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63"/>
            <a:ext cx="2057400" cy="365125"/>
          </a:xfrm>
          <a:prstGeom prst="rect">
            <a:avLst/>
          </a:prstGeo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/>
                </a:solidFill>
              </a:rPr>
              <a:pPr/>
              <a:t>‹№›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61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59252-20DD-428F-8E10-D454514AEB13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4/7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E85E2-B4A9-471D-A87F-C4BD8B1F4B09}" type="slidenum">
              <a:rPr lang="en-US">
                <a:solidFill>
                  <a:prstClr val="black"/>
                </a:solidFill>
              </a:rPr>
              <a:pPr>
                <a:defRPr/>
              </a:pPr>
              <a:t>‹№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16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9144000" cy="801145"/>
          </a:xfrm>
          <a:prstGeom prst="rect">
            <a:avLst/>
          </a:prstGeom>
          <a:gradFill flip="none" rotWithShape="1">
            <a:gsLst>
              <a:gs pos="98000">
                <a:srgbClr val="F14124">
                  <a:lumMod val="20000"/>
                  <a:lumOff val="80000"/>
                </a:srgbClr>
              </a:gs>
              <a:gs pos="81000">
                <a:sysClr val="window" lastClr="FFFFFF">
                  <a:alpha val="62000"/>
                </a:sysClr>
              </a:gs>
              <a:gs pos="0">
                <a:srgbClr val="B4DCFA">
                  <a:alpha val="79000"/>
                </a:srgbClr>
              </a:gs>
            </a:gsLst>
            <a:lin ang="2400000" scaled="0"/>
            <a:tileRect/>
          </a:gradFill>
          <a:ln w="158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 dirty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Рисунок 2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48500" y="2"/>
            <a:ext cx="2092569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640515"/>
            <a:ext cx="9144000" cy="217487"/>
          </a:xfrm>
          <a:prstGeom prst="rect">
            <a:avLst/>
          </a:prstGeom>
          <a:solidFill>
            <a:srgbClr val="C8D6F0"/>
          </a:solidFill>
          <a:ln>
            <a:noFill/>
          </a:ln>
          <a:extLst/>
        </p:spPr>
        <p:txBody>
          <a:bodyPr wrap="none" tIns="68580" bIns="6858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92E146E4-D1D8-4F5B-804D-EA746B37FEEC}" type="slidenum">
              <a:rPr lang="uk-UA" altLang="ru-RU" sz="900" b="1" smtClean="0"/>
              <a:pPr algn="ctr" eaLnBrk="1" hangingPunct="1">
                <a:defRPr/>
              </a:pPr>
              <a:t>‹№›</a:t>
            </a:fld>
            <a:endParaRPr lang="uk-UA" altLang="ru-RU" sz="900" b="1"/>
          </a:p>
        </p:txBody>
      </p:sp>
    </p:spTree>
    <p:extLst>
      <p:ext uri="{BB962C8B-B14F-4D97-AF65-F5344CB8AC3E}">
        <p14:creationId xmlns:p14="http://schemas.microsoft.com/office/powerpoint/2010/main" val="13733478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51047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202260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64029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29145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92912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971118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1067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311078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188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439928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432053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558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A66AE-81F5-474A-B74B-EE41E9320F19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 txBox="1">
            <a:spLocks/>
          </p:cNvSpPr>
          <p:nvPr/>
        </p:nvSpPr>
        <p:spPr>
          <a:xfrm>
            <a:off x="971550" y="120650"/>
            <a:ext cx="8077200" cy="609600"/>
          </a:xfrm>
          <a:prstGeom prst="rect">
            <a:avLst/>
          </a:prstGeom>
        </p:spPr>
        <p:txBody>
          <a:bodyPr lIns="0" tIns="0" rIns="0" bIns="0"/>
          <a:lstStyle>
            <a:lvl1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3154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86308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29462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726166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endParaRPr lang="uk-UA" sz="1500" spc="-23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cxnSp>
        <p:nvCxnSpPr>
          <p:cNvPr id="3075" name="Straight Connector 2"/>
          <p:cNvCxnSpPr>
            <a:cxnSpLocks noChangeShapeType="1"/>
          </p:cNvCxnSpPr>
          <p:nvPr/>
        </p:nvCxnSpPr>
        <p:spPr bwMode="auto">
          <a:xfrm>
            <a:off x="0" y="765175"/>
            <a:ext cx="9144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6" name="Straight Connector 12"/>
          <p:cNvCxnSpPr>
            <a:cxnSpLocks noChangeShapeType="1"/>
          </p:cNvCxnSpPr>
          <p:nvPr/>
        </p:nvCxnSpPr>
        <p:spPr bwMode="auto">
          <a:xfrm>
            <a:off x="0" y="836613"/>
            <a:ext cx="9144000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077" name="Picture 11" descr="minregion_logo_concept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12"/>
          <a:stretch>
            <a:fillRect/>
          </a:stretch>
        </p:blipFill>
        <p:spPr bwMode="auto">
          <a:xfrm>
            <a:off x="250827" y="9525"/>
            <a:ext cx="534988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6048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sldNum="0" hdr="0" ftr="0" dt="0"/>
  <p:txStyles>
    <p:titleStyle>
      <a:lvl1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2pPr>
      <a:lvl3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3pPr>
      <a:lvl4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4pPr>
      <a:lvl5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5pPr>
      <a:lvl6pPr marL="323657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47312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970967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294625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35731" indent="-13573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403622" indent="-13454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2pPr>
      <a:lvl3pPr marL="675085" indent="-13454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3pPr>
      <a:lvl4pPr marL="941785" indent="-130969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4pPr>
      <a:lvl5pPr marL="1213247" indent="-13573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5pPr>
      <a:lvl6pPr marL="1537367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6pPr>
      <a:lvl7pPr marL="1861023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7pPr>
      <a:lvl8pPr marL="2184680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8pPr>
      <a:lvl9pPr marL="2508340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2365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47312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97096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294625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18283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194193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265593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589249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5AC50B-287A-4F75-94DF-577CB3E5F31C}" type="datetimeFigureOut">
              <a:rPr lang="uk-UA" smtClean="0"/>
              <a:t>07.04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675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"/>
          <p:cNvSpPr txBox="1">
            <a:spLocks noChangeArrowheads="1"/>
          </p:cNvSpPr>
          <p:nvPr/>
        </p:nvSpPr>
        <p:spPr>
          <a:xfrm>
            <a:off x="845586" y="3358141"/>
            <a:ext cx="7884876" cy="286883"/>
          </a:xfrm>
          <a:prstGeom prst="rect">
            <a:avLst/>
          </a:prstGeom>
          <a:ln>
            <a:noFill/>
          </a:ln>
        </p:spPr>
        <p:txBody>
          <a:bodyPr vert="horz" lIns="66945" tIns="33475" rIns="66945" bIns="33475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СТАН ВПРОВАДЖЕННЯ </a:t>
            </a:r>
          </a:p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ЗАКОНІВ УКРАЇНИ </a:t>
            </a:r>
          </a:p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«ПРО ДОБРОВІЛЬНЕ ОБ’ЄДНАННЯ ТЕРИТОРІАЛЬНИХ ГРОМАД» та                «ПРО СПІВРОБІТНИЦТВО ТЕРИТОРІАЛЬНИХ ГРОМАД» </a:t>
            </a:r>
          </a:p>
        </p:txBody>
      </p:sp>
      <p:sp>
        <p:nvSpPr>
          <p:cNvPr id="59" name="Rectangle 3"/>
          <p:cNvSpPr txBox="1">
            <a:spLocks noChangeArrowheads="1"/>
          </p:cNvSpPr>
          <p:nvPr/>
        </p:nvSpPr>
        <p:spPr>
          <a:xfrm>
            <a:off x="845587" y="970183"/>
            <a:ext cx="8046893" cy="286883"/>
          </a:xfrm>
          <a:prstGeom prst="rect">
            <a:avLst/>
          </a:prstGeom>
          <a:ln>
            <a:noFill/>
          </a:ln>
        </p:spPr>
        <p:txBody>
          <a:bodyPr vert="horz" lIns="66945" tIns="33475" rIns="66945" bIns="33475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endParaRPr lang="uk-UA" altLang="ru-RU" sz="1650" b="1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Прямокутник 1"/>
          <p:cNvSpPr/>
          <p:nvPr/>
        </p:nvSpPr>
        <p:spPr>
          <a:xfrm>
            <a:off x="971600" y="-22442"/>
            <a:ext cx="79208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base">
              <a:spcAft>
                <a:spcPct val="0"/>
              </a:spcAft>
              <a:tabLst>
                <a:tab pos="659459" algn="l"/>
              </a:tabLst>
            </a:pPr>
            <a:r>
              <a:rPr lang="uk-UA" altLang="ru-RU" b="1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МІНІСТЕРСТВО РЕГІОНАЛЬНОГО РОЗВИТКУ, БУДІВНИЦТВА ТА ЖИТЛОВО-КОМУНАЛЬНОГО ГОСПОДАРСТВА УКРАЇНИ</a:t>
            </a:r>
          </a:p>
        </p:txBody>
      </p:sp>
    </p:spTree>
    <p:extLst>
      <p:ext uri="{BB962C8B-B14F-4D97-AF65-F5344CB8AC3E}">
        <p14:creationId xmlns:p14="http://schemas.microsoft.com/office/powerpoint/2010/main" val="86030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"/>
          <p:cNvSpPr txBox="1"/>
          <p:nvPr/>
        </p:nvSpPr>
        <p:spPr>
          <a:xfrm>
            <a:off x="683568" y="2390254"/>
            <a:ext cx="83709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uk-UA" sz="2700" b="1" dirty="0">
                <a:solidFill>
                  <a:srgbClr val="1F497D"/>
                </a:solidFill>
                <a:latin typeface="Calibri" pitchFamily="34" charset="0"/>
              </a:rPr>
              <a:t>ДЯКУЮ ЗА УВАГУ !</a:t>
            </a:r>
          </a:p>
          <a:p>
            <a:pPr marL="214313" indent="-214313" defTabSz="685800">
              <a:buFontTx/>
              <a:buChar char="-"/>
            </a:pPr>
            <a:endParaRPr lang="uk-UA" sz="1500" dirty="0">
              <a:solidFill>
                <a:prstClr val="black"/>
              </a:solidFill>
              <a:latin typeface="Calibri" pitchFamily="34" charset="0"/>
            </a:endParaRPr>
          </a:p>
          <a:p>
            <a:pPr marL="214313" indent="-214313" defTabSz="685800">
              <a:buFontTx/>
              <a:buChar char="-"/>
            </a:pPr>
            <a:endParaRPr lang="uk-UA" sz="1500" dirty="0">
              <a:solidFill>
                <a:prstClr val="black"/>
              </a:solidFill>
              <a:latin typeface="Calibri" pitchFamily="34" charset="0"/>
            </a:endParaRPr>
          </a:p>
          <a:p>
            <a:pPr defTabSz="685800"/>
            <a:r>
              <a:rPr lang="uk-UA" sz="1500" dirty="0">
                <a:solidFill>
                  <a:prstClr val="black"/>
                </a:solidFill>
                <a:latin typeface="Calibri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885698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648072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Державна політика та законодавчі зміни</a:t>
            </a:r>
            <a: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щодо децентралізації та реформування місцевого самоврядування в Україні</a:t>
            </a:r>
            <a: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Блок-схема: процес 3"/>
          <p:cNvSpPr/>
          <p:nvPr/>
        </p:nvSpPr>
        <p:spPr>
          <a:xfrm>
            <a:off x="251520" y="764704"/>
            <a:ext cx="8712968" cy="504056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ія реформування місцевого самоврядування та територіальної організації влади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тверджено Урядом 1 квітня 2014 року).  </a:t>
            </a: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заходів щодо реалізації Концепції 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верджено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рядом 18 </a:t>
            </a:r>
            <a:r>
              <a:rPr lang="ru-RU" sz="11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вня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4 року)</a:t>
            </a:r>
            <a:endParaRPr lang="uk-UA" sz="11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Блок-схема: процес 7"/>
          <p:cNvSpPr/>
          <p:nvPr/>
        </p:nvSpPr>
        <p:spPr>
          <a:xfrm>
            <a:off x="2411760" y="1556792"/>
            <a:ext cx="4320480" cy="432000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 до Конституції України</a:t>
            </a:r>
          </a:p>
          <a:p>
            <a:pPr algn="ctr"/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хвалено у першому читанні 31 серпня 2015 році) </a:t>
            </a:r>
          </a:p>
        </p:txBody>
      </p:sp>
      <p:sp>
        <p:nvSpPr>
          <p:cNvPr id="10" name="Блок-схема: процес 9"/>
          <p:cNvSpPr/>
          <p:nvPr/>
        </p:nvSpPr>
        <p:spPr>
          <a:xfrm>
            <a:off x="251520" y="2132856"/>
            <a:ext cx="8712968" cy="432000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вче забезпечення реформи – основні завдання та відповідні законодавчі акти</a:t>
            </a:r>
            <a:endParaRPr lang="uk-UA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Блок-схема: процес 10"/>
          <p:cNvSpPr/>
          <p:nvPr/>
        </p:nvSpPr>
        <p:spPr>
          <a:xfrm>
            <a:off x="251520" y="2636912"/>
            <a:ext cx="2808000" cy="612000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цнення фінансової автономії та  спроможності місцевого самоврядування</a:t>
            </a:r>
            <a:endParaRPr lang="uk-UA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Блок-схема: процес 11"/>
          <p:cNvSpPr/>
          <p:nvPr/>
        </p:nvSpPr>
        <p:spPr>
          <a:xfrm>
            <a:off x="3203848" y="2636912"/>
            <a:ext cx="2808000" cy="612000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орення нової територіальної основи для діяльності органів місцевого самоврядування</a:t>
            </a:r>
          </a:p>
        </p:txBody>
      </p:sp>
      <p:sp>
        <p:nvSpPr>
          <p:cNvPr id="13" name="Блок-схема: процес 12"/>
          <p:cNvSpPr/>
          <p:nvPr/>
        </p:nvSpPr>
        <p:spPr>
          <a:xfrm>
            <a:off x="6156176" y="2636912"/>
            <a:ext cx="2808000" cy="612648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ширення повноважень органів місцевого самоврядування</a:t>
            </a:r>
          </a:p>
        </p:txBody>
      </p:sp>
      <p:sp>
        <p:nvSpPr>
          <p:cNvPr id="15" name="Прямокутна виноска 14"/>
          <p:cNvSpPr/>
          <p:nvPr/>
        </p:nvSpPr>
        <p:spPr>
          <a:xfrm>
            <a:off x="251520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 до Бюджетного і Податкового кодексів України</a:t>
            </a:r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грудня 2014 р. та 2015-16 роках)</a:t>
            </a:r>
          </a:p>
          <a:p>
            <a:pPr indent="2667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іплено за місцевими бюджетами стабільні джерела доходів;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ширено дохідну  базу місцевих бюджетів, в тому числі  за рахунок запровадження місцевих податків і зборів та встановлення їх  ставок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оваджено горизонтальне вирівнювання податкоспроможності територій залежно від рівня надходжень на одного жителя</a:t>
            </a:r>
          </a:p>
          <a:p>
            <a:pPr marL="177800"/>
            <a:endParaRPr lang="uk-UA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кутна виноска 15"/>
          <p:cNvSpPr/>
          <p:nvPr/>
        </p:nvSpPr>
        <p:spPr>
          <a:xfrm>
            <a:off x="3204004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України «Про добровільне об'єднання територіальних громад»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лютого 2015 року)</a:t>
            </a:r>
          </a:p>
          <a:p>
            <a:pPr marL="177800"/>
            <a:endParaRPr lang="uk-UA" sz="8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гульовано порядок добровільного об’єднання територіальних громад сіл, селищ, міст; 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оваджено інститут  старост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</a:t>
            </a:r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 «Про співробітництво територіальних громад»</a:t>
            </a:r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7 червня 2014 року) </a:t>
            </a: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начено організаційно-правові засади співробітництва територіальних громад</a:t>
            </a:r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Прямокутна виноска 16"/>
          <p:cNvSpPr/>
          <p:nvPr/>
        </p:nvSpPr>
        <p:spPr>
          <a:xfrm>
            <a:off x="6156176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 до законодавства України щодо децентралізації повноважень у сферах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 2015 – 2016 роках)</a:t>
            </a:r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7800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 державної реєстрації речових прав на нерухоме майно та їх обтяжень;</a:t>
            </a:r>
          </a:p>
          <a:p>
            <a:pPr marL="177800">
              <a:buFont typeface="Arial" pitchFamily="34" charset="0"/>
              <a:buChar char="•"/>
            </a:pPr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 державної реєстрації юридичних осіб, фізичних осіб-підприємців та громадських формувань;</a:t>
            </a:r>
          </a:p>
          <a:p>
            <a:pPr marL="177800">
              <a:buFont typeface="Arial" pitchFamily="34" charset="0"/>
              <a:buChar char="•"/>
            </a:pPr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ітектурно-будівельного контролю;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стобудівної діяльності та просторового розвитку  територій</a:t>
            </a:r>
            <a:endParaRPr lang="uk-UA" sz="1200" dirty="0">
              <a:solidFill>
                <a:schemeClr val="tx1"/>
              </a:solidFill>
            </a:endParaRPr>
          </a:p>
        </p:txBody>
      </p:sp>
      <p:sp>
        <p:nvSpPr>
          <p:cNvPr id="14" name="Стрілка вниз 13"/>
          <p:cNvSpPr/>
          <p:nvPr/>
        </p:nvSpPr>
        <p:spPr>
          <a:xfrm>
            <a:off x="971600" y="1268760"/>
            <a:ext cx="468000" cy="864000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8" name="Стрілка вниз 17"/>
          <p:cNvSpPr/>
          <p:nvPr/>
        </p:nvSpPr>
        <p:spPr>
          <a:xfrm>
            <a:off x="7549828" y="1268760"/>
            <a:ext cx="468000" cy="864000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9" name="Стрілка вниз 18"/>
          <p:cNvSpPr/>
          <p:nvPr/>
        </p:nvSpPr>
        <p:spPr>
          <a:xfrm>
            <a:off x="4320024" y="1268760"/>
            <a:ext cx="468000" cy="288032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89644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899592" y="45611"/>
            <a:ext cx="8047346" cy="526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ru-RU" altLang="ru-RU" sz="2100" b="1" dirty="0" err="1">
                <a:solidFill>
                  <a:srgbClr val="4F81BD"/>
                </a:solidFill>
                <a:latin typeface="Calibri" pitchFamily="34" charset="0"/>
              </a:rPr>
              <a:t>Удосконалюється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 </a:t>
            </a:r>
            <a:r>
              <a:rPr lang="ru-RU" altLang="ru-RU" sz="2100" b="1" dirty="0" err="1">
                <a:solidFill>
                  <a:srgbClr val="4F81BD"/>
                </a:solidFill>
                <a:latin typeface="Calibri" pitchFamily="34" charset="0"/>
              </a:rPr>
              <a:t>механізм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 </a:t>
            </a:r>
            <a:r>
              <a:rPr lang="ru-RU" altLang="ru-RU" sz="2100" b="1" dirty="0" err="1">
                <a:solidFill>
                  <a:srgbClr val="4F81BD"/>
                </a:solidFill>
                <a:latin typeface="Calibri" pitchFamily="34" charset="0"/>
              </a:rPr>
              <a:t>формування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 та </a:t>
            </a:r>
            <a:r>
              <a:rPr lang="ru-RU" altLang="ru-RU" sz="2100" b="1" dirty="0" err="1">
                <a:solidFill>
                  <a:srgbClr val="4F81BD"/>
                </a:solidFill>
                <a:latin typeface="Calibri" pitchFamily="34" charset="0"/>
              </a:rPr>
              <a:t>діяльності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 </a:t>
            </a:r>
          </a:p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ru-RU" altLang="ru-RU" sz="2100" b="1" dirty="0" err="1">
                <a:solidFill>
                  <a:srgbClr val="4F81BD"/>
                </a:solidFill>
                <a:latin typeface="Calibri" pitchFamily="34" charset="0"/>
              </a:rPr>
              <a:t>спроможних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 тергромад</a:t>
            </a:r>
          </a:p>
        </p:txBody>
      </p:sp>
      <p:sp>
        <p:nvSpPr>
          <p:cNvPr id="19" name="Нашивка 18"/>
          <p:cNvSpPr/>
          <p:nvPr/>
        </p:nvSpPr>
        <p:spPr bwMode="auto">
          <a:xfrm>
            <a:off x="5172502" y="1589533"/>
            <a:ext cx="3971498" cy="748571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Врегулює порядок добровільного приєднання до вже утворених об’єднаних територіальних громад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275" b="1" dirty="0">
              <a:solidFill>
                <a:prstClr val="white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2" name="П'ятикутник 41"/>
          <p:cNvSpPr/>
          <p:nvPr/>
        </p:nvSpPr>
        <p:spPr bwMode="auto">
          <a:xfrm>
            <a:off x="75690" y="2116008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  <a:latin typeface="Arial"/>
              </a:rPr>
              <a:t>Прийняття проекту Закону України «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Про внесення змін до Бюджетного кодексу України (щодо добровільного приєднання територіальних громад)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» (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реєстр. </a:t>
            </a:r>
            <a:r>
              <a:rPr lang="uk-UA" sz="1500" b="1" dirty="0">
                <a:solidFill>
                  <a:srgbClr val="FFC000"/>
                </a:solidFill>
                <a:latin typeface="Arial"/>
              </a:rPr>
              <a:t>№ 4773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)</a:t>
            </a:r>
          </a:p>
          <a:p>
            <a:pPr defTabSz="685800"/>
            <a:r>
              <a:rPr lang="uk-UA" sz="750" b="1" dirty="0">
                <a:solidFill>
                  <a:prstClr val="white"/>
                </a:solidFill>
                <a:latin typeface="Arial"/>
              </a:rPr>
              <a:t>(в першому читанні)</a:t>
            </a:r>
          </a:p>
          <a:p>
            <a:pPr defTabSz="685800"/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П'ятикутник 43"/>
          <p:cNvSpPr/>
          <p:nvPr/>
        </p:nvSpPr>
        <p:spPr bwMode="auto">
          <a:xfrm>
            <a:off x="75690" y="4769957"/>
            <a:ext cx="5346548" cy="90897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>
                <a:solidFill>
                  <a:prstClr val="white"/>
                </a:solidFill>
                <a:latin typeface="Arial"/>
              </a:rPr>
              <a:t>Прийнято проект 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Закону України «Про внесення змін до деяких законодавчих актів України щодо особливостей добровільного об’єднання територіальних громад, розташованих на територіях суміжних </a:t>
            </a:r>
            <a:r>
              <a:rPr lang="uk-UA" sz="1200" b="1">
                <a:solidFill>
                  <a:prstClr val="white"/>
                </a:solidFill>
                <a:latin typeface="Arial"/>
              </a:rPr>
              <a:t>районів»</a:t>
            </a:r>
            <a:endParaRPr lang="ru-RU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7" name="Нашивка 46"/>
          <p:cNvSpPr/>
          <p:nvPr/>
        </p:nvSpPr>
        <p:spPr bwMode="auto">
          <a:xfrm>
            <a:off x="5172502" y="4819397"/>
            <a:ext cx="3996443" cy="810090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Забезпечить процес призначення перших місцевих виборів у тергромадах, утворених в результаті об`єднання тергромад різних районів</a:t>
            </a:r>
          </a:p>
        </p:txBody>
      </p:sp>
      <p:sp>
        <p:nvSpPr>
          <p:cNvPr id="18" name="П'ятикутник 17"/>
          <p:cNvSpPr/>
          <p:nvPr/>
        </p:nvSpPr>
        <p:spPr bwMode="auto">
          <a:xfrm>
            <a:off x="75690" y="1047324"/>
            <a:ext cx="5356094" cy="780038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  <a:latin typeface="Arial"/>
              </a:rPr>
              <a:t>Прийнято Закон України 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«Про внесення змін до деяких законодавчих актів України (щодо добровільного приєднання територіальних громад)» 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sp>
        <p:nvSpPr>
          <p:cNvPr id="9" name="П'ятикутник 41"/>
          <p:cNvSpPr/>
          <p:nvPr/>
        </p:nvSpPr>
        <p:spPr bwMode="auto">
          <a:xfrm>
            <a:off x="73729" y="3558331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</a:rPr>
              <a:t>Прийнято Закон України «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Про внесення змін до деяких законодавчих актів України (щодо статусу старости села, селища)</a:t>
            </a:r>
            <a:r>
              <a:rPr lang="uk-UA" sz="1200" b="1" dirty="0">
                <a:solidFill>
                  <a:prstClr val="white"/>
                </a:solidFill>
              </a:rPr>
              <a:t>»</a:t>
            </a:r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286000" y="269033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" indent="449580" algn="just">
              <a:spcAft>
                <a:spcPts val="0"/>
              </a:spcAft>
            </a:pPr>
            <a:r>
              <a:rPr lang="uk-UA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uk-UA" sz="1600" dirty="0">
              <a:solidFill>
                <a:srgbClr val="000000"/>
              </a:solidFill>
              <a:effectLst/>
              <a:latin typeface="Arial Unicode MS" panose="020B0604020202020204" pitchFamily="34" charset="-128"/>
              <a:ea typeface="Arial Unicode MS" panose="020B0604020202020204" pitchFamily="34" charset="-128"/>
            </a:endParaRPr>
          </a:p>
        </p:txBody>
      </p:sp>
      <p:sp>
        <p:nvSpPr>
          <p:cNvPr id="11" name="Нашивка 18"/>
          <p:cNvSpPr/>
          <p:nvPr/>
        </p:nvSpPr>
        <p:spPr bwMode="auto">
          <a:xfrm>
            <a:off x="5197447" y="3558331"/>
            <a:ext cx="3971498" cy="807949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Чітко визначає статус старости шляхом визначення просторових меж його діяльності, кола повноважень, підстав та ін.</a:t>
            </a:r>
          </a:p>
        </p:txBody>
      </p:sp>
    </p:spTree>
    <p:extLst>
      <p:ext uri="{BB962C8B-B14F-4D97-AF65-F5344CB8AC3E}">
        <p14:creationId xmlns:p14="http://schemas.microsoft.com/office/powerpoint/2010/main" val="141905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648072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Державна підтримка на розвиток громад та розбудову інфраструктури  </a:t>
            </a: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Діагра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9309417"/>
              </p:ext>
            </p:extLst>
          </p:nvPr>
        </p:nvGraphicFramePr>
        <p:xfrm>
          <a:off x="251520" y="1517340"/>
          <a:ext cx="8784976" cy="5008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кутник 1"/>
          <p:cNvSpPr/>
          <p:nvPr/>
        </p:nvSpPr>
        <p:spPr>
          <a:xfrm>
            <a:off x="1354104" y="5386592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0,5</a:t>
            </a:r>
          </a:p>
        </p:txBody>
      </p:sp>
      <p:sp>
        <p:nvSpPr>
          <p:cNvPr id="12" name="Прямокутник 11"/>
          <p:cNvSpPr/>
          <p:nvPr/>
        </p:nvSpPr>
        <p:spPr>
          <a:xfrm>
            <a:off x="2886783" y="386104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3,7</a:t>
            </a:r>
          </a:p>
        </p:txBody>
      </p:sp>
      <p:sp>
        <p:nvSpPr>
          <p:cNvPr id="13" name="Прямокутник 12"/>
          <p:cNvSpPr/>
          <p:nvPr/>
        </p:nvSpPr>
        <p:spPr>
          <a:xfrm>
            <a:off x="4377680" y="2204864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7,3</a:t>
            </a:r>
          </a:p>
        </p:txBody>
      </p:sp>
      <p:sp>
        <p:nvSpPr>
          <p:cNvPr id="14" name="Прямокутник 13"/>
          <p:cNvSpPr/>
          <p:nvPr/>
        </p:nvSpPr>
        <p:spPr>
          <a:xfrm>
            <a:off x="5868144" y="1400582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9,0</a:t>
            </a:r>
          </a:p>
        </p:txBody>
      </p:sp>
      <p:sp>
        <p:nvSpPr>
          <p:cNvPr id="15" name="Прямокутник 14"/>
          <p:cNvSpPr/>
          <p:nvPr/>
        </p:nvSpPr>
        <p:spPr>
          <a:xfrm>
            <a:off x="5724128" y="294664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3,5</a:t>
            </a:r>
          </a:p>
        </p:txBody>
      </p:sp>
      <p:sp>
        <p:nvSpPr>
          <p:cNvPr id="16" name="Прямокутник 15"/>
          <p:cNvSpPr/>
          <p:nvPr/>
        </p:nvSpPr>
        <p:spPr>
          <a:xfrm>
            <a:off x="4233664" y="3573016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3,0</a:t>
            </a:r>
          </a:p>
        </p:txBody>
      </p:sp>
      <p:sp>
        <p:nvSpPr>
          <p:cNvPr id="17" name="Прямокутник 16"/>
          <p:cNvSpPr/>
          <p:nvPr/>
        </p:nvSpPr>
        <p:spPr>
          <a:xfrm>
            <a:off x="2699792" y="5733256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0,8</a:t>
            </a:r>
          </a:p>
        </p:txBody>
      </p:sp>
      <p:sp>
        <p:nvSpPr>
          <p:cNvPr id="18" name="Прямокутник 17"/>
          <p:cNvSpPr/>
          <p:nvPr/>
        </p:nvSpPr>
        <p:spPr>
          <a:xfrm>
            <a:off x="4233664" y="269806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1,0</a:t>
            </a:r>
          </a:p>
        </p:txBody>
      </p:sp>
      <p:sp>
        <p:nvSpPr>
          <p:cNvPr id="19" name="Прямокутник 18"/>
          <p:cNvSpPr/>
          <p:nvPr/>
        </p:nvSpPr>
        <p:spPr>
          <a:xfrm>
            <a:off x="5724128" y="1899759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1,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80472" y="764701"/>
            <a:ext cx="6840000" cy="461665"/>
          </a:xfrm>
          <a:prstGeom prst="rect">
            <a:avLst/>
          </a:prstGeom>
          <a:solidFill>
            <a:schemeClr val="tx2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uk-UA" sz="2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r>
              <a:rPr lang="uk-UA" sz="1100" dirty="0">
                <a:solidFill>
                  <a:schemeClr val="bg1"/>
                </a:solidFill>
                <a:latin typeface="Arial Black" panose="020B0A04020102020204" pitchFamily="34" charset="0"/>
              </a:rPr>
              <a:t>ІНФРАСТРУКТУРНИХ ПРОЕКТІВ РЕАЛІЗОВАНО У 2016 РОЦІ В 159 ОБ’ЄДНАНИХ ТЕРИТОРІАЛЬНИХ ГРОМАДАХ ЗА РАХУНОК СУБВЕНЦІЇ НА ПІДТРИМКУ ГРОМАД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1560" y="692696"/>
            <a:ext cx="1296144" cy="707886"/>
          </a:xfrm>
          <a:prstGeom prst="rect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uk-UA" sz="4000" b="1" spc="50" dirty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libri" panose="020F0502020204030204" pitchFamily="34" charset="0"/>
              </a:rPr>
              <a:t>1383 </a:t>
            </a:r>
            <a:r>
              <a:rPr lang="uk-UA" sz="4000" b="1" spc="50" dirty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737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751891" y="116632"/>
            <a:ext cx="8142019" cy="49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575" b="1" dirty="0">
                <a:solidFill>
                  <a:srgbClr val="1D89CB"/>
                </a:solidFill>
                <a:latin typeface="Cambria" panose="02040503050406030204" pitchFamily="18" charset="0"/>
              </a:rPr>
              <a:t>СТАН ФОРМУВАННЯ ОБ'ЄДНАНИХ ТЕРИТОРІАЛЬНИХ ГРОМАД В УКРАЇНІ</a:t>
            </a:r>
          </a:p>
        </p:txBody>
      </p:sp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802304" y="768677"/>
            <a:ext cx="8091606" cy="5471547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825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1" y="406138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2139799" y="2622655"/>
            <a:ext cx="81844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2015260" y="1648694"/>
            <a:ext cx="89855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817515" y="1704016"/>
            <a:ext cx="89855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448264" y="1857400"/>
            <a:ext cx="788300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683568" y="3164898"/>
            <a:ext cx="815493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391505" y="3582310"/>
            <a:ext cx="726442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1571816" y="3095329"/>
            <a:ext cx="1025824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581697" y="2399643"/>
            <a:ext cx="646922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803700" y="2553146"/>
            <a:ext cx="79850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509815" y="2886623"/>
            <a:ext cx="62645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інницька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4236564" y="2051800"/>
            <a:ext cx="578561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963313" y="2817055"/>
            <a:ext cx="653881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4054877" y="3860584"/>
            <a:ext cx="56424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4721063" y="3860584"/>
            <a:ext cx="84696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668934" y="4259969"/>
            <a:ext cx="69745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ерсонська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598501" y="3874890"/>
            <a:ext cx="683199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5217846" y="3304035"/>
            <a:ext cx="83559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6169160" y="3304035"/>
            <a:ext cx="955736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609314" y="2469211"/>
            <a:ext cx="68036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Полта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979143" y="1509557"/>
            <a:ext cx="771482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770814" y="1579126"/>
            <a:ext cx="1675561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6952144" y="2483518"/>
            <a:ext cx="683845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930873" y="2761792"/>
            <a:ext cx="661993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7535744" y="3234466"/>
            <a:ext cx="62076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721065" y="2286649"/>
            <a:ext cx="48368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. Київ</a:t>
            </a:r>
          </a:p>
        </p:txBody>
      </p:sp>
      <p:grpSp>
        <p:nvGrpSpPr>
          <p:cNvPr id="2" name="Групувати 1"/>
          <p:cNvGrpSpPr/>
          <p:nvPr/>
        </p:nvGrpSpPr>
        <p:grpSpPr>
          <a:xfrm>
            <a:off x="1787436" y="3308236"/>
            <a:ext cx="467812" cy="376227"/>
            <a:chOff x="263352" y="4001463"/>
            <a:chExt cx="556222" cy="389418"/>
          </a:xfrm>
        </p:grpSpPr>
        <p:sp>
          <p:nvSpPr>
            <p:cNvPr id="22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39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8 (4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41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51" name="Групувати 150"/>
          <p:cNvGrpSpPr/>
          <p:nvPr/>
        </p:nvGrpSpPr>
        <p:grpSpPr>
          <a:xfrm>
            <a:off x="3647627" y="3150821"/>
            <a:ext cx="467812" cy="376227"/>
            <a:chOff x="263352" y="4001463"/>
            <a:chExt cx="556222" cy="389418"/>
          </a:xfrm>
        </p:grpSpPr>
        <p:sp>
          <p:nvSpPr>
            <p:cNvPr id="153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4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6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5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9)</a:t>
              </a:r>
              <a:r>
                <a:rPr lang="uk-UA" sz="750" dirty="0">
                  <a:solidFill>
                    <a:prstClr val="white"/>
                  </a:solidFill>
                </a:rPr>
                <a:t>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56" name="Групувати 155"/>
          <p:cNvGrpSpPr/>
          <p:nvPr/>
        </p:nvGrpSpPr>
        <p:grpSpPr>
          <a:xfrm>
            <a:off x="2102918" y="1838293"/>
            <a:ext cx="467812" cy="376227"/>
            <a:chOff x="263352" y="4001463"/>
            <a:chExt cx="556222" cy="389418"/>
          </a:xfrm>
        </p:grpSpPr>
        <p:sp>
          <p:nvSpPr>
            <p:cNvPr id="157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2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8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9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5 (23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60" name="Групувати 159"/>
          <p:cNvGrpSpPr/>
          <p:nvPr/>
        </p:nvGrpSpPr>
        <p:grpSpPr>
          <a:xfrm>
            <a:off x="6075703" y="3585753"/>
            <a:ext cx="467812" cy="243529"/>
            <a:chOff x="263352" y="4001463"/>
            <a:chExt cx="556222" cy="252068"/>
          </a:xfrm>
        </p:grpSpPr>
        <p:sp>
          <p:nvSpPr>
            <p:cNvPr id="161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5 (4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6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51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98" name="Групувати 197"/>
          <p:cNvGrpSpPr/>
          <p:nvPr/>
        </p:nvGrpSpPr>
        <p:grpSpPr>
          <a:xfrm>
            <a:off x="7519694" y="3510791"/>
            <a:ext cx="467812" cy="376227"/>
            <a:chOff x="263352" y="4001463"/>
            <a:chExt cx="556222" cy="389418"/>
          </a:xfrm>
        </p:grpSpPr>
        <p:sp>
          <p:nvSpPr>
            <p:cNvPr id="203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2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06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2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09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4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13" name="Групувати 212"/>
          <p:cNvGrpSpPr/>
          <p:nvPr/>
        </p:nvGrpSpPr>
        <p:grpSpPr>
          <a:xfrm>
            <a:off x="3561174" y="2108722"/>
            <a:ext cx="467812" cy="243529"/>
            <a:chOff x="263352" y="4001463"/>
            <a:chExt cx="556222" cy="252068"/>
          </a:xfrm>
        </p:grpSpPr>
        <p:sp>
          <p:nvSpPr>
            <p:cNvPr id="217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9 (4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2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3 (16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26" name="Групувати 225"/>
          <p:cNvGrpSpPr/>
          <p:nvPr/>
        </p:nvGrpSpPr>
        <p:grpSpPr>
          <a:xfrm>
            <a:off x="1147106" y="3338934"/>
            <a:ext cx="467812" cy="376227"/>
            <a:chOff x="263352" y="4001463"/>
            <a:chExt cx="556222" cy="389418"/>
          </a:xfrm>
        </p:grpSpPr>
        <p:sp>
          <p:nvSpPr>
            <p:cNvPr id="22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3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33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7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37" name="Групувати 236"/>
          <p:cNvGrpSpPr/>
          <p:nvPr/>
        </p:nvGrpSpPr>
        <p:grpSpPr>
          <a:xfrm>
            <a:off x="6878968" y="4120810"/>
            <a:ext cx="467812" cy="376227"/>
            <a:chOff x="263352" y="4001463"/>
            <a:chExt cx="556222" cy="389418"/>
          </a:xfrm>
        </p:grpSpPr>
        <p:sp>
          <p:nvSpPr>
            <p:cNvPr id="23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1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4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2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43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8 (44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46" name="Групувати 245"/>
          <p:cNvGrpSpPr/>
          <p:nvPr/>
        </p:nvGrpSpPr>
        <p:grpSpPr>
          <a:xfrm>
            <a:off x="4389935" y="2584170"/>
            <a:ext cx="467812" cy="243529"/>
            <a:chOff x="263352" y="4001463"/>
            <a:chExt cx="556222" cy="252068"/>
          </a:xfrm>
        </p:grpSpPr>
        <p:sp>
          <p:nvSpPr>
            <p:cNvPr id="24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5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61" name="Групувати 260"/>
          <p:cNvGrpSpPr/>
          <p:nvPr/>
        </p:nvGrpSpPr>
        <p:grpSpPr>
          <a:xfrm>
            <a:off x="1609041" y="2590889"/>
            <a:ext cx="467812" cy="376227"/>
            <a:chOff x="263352" y="4001463"/>
            <a:chExt cx="556222" cy="389418"/>
          </a:xfrm>
        </p:grpSpPr>
        <p:sp>
          <p:nvSpPr>
            <p:cNvPr id="26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5 (4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7 (4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12)</a:t>
              </a:r>
              <a:r>
                <a:rPr lang="uk-UA" sz="750" dirty="0">
                  <a:solidFill>
                    <a:prstClr val="white"/>
                  </a:solidFill>
                </a:rPr>
                <a:t>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69" name="Групувати 268"/>
          <p:cNvGrpSpPr/>
          <p:nvPr/>
        </p:nvGrpSpPr>
        <p:grpSpPr>
          <a:xfrm>
            <a:off x="4978900" y="4105713"/>
            <a:ext cx="467812" cy="376227"/>
            <a:chOff x="263352" y="4001463"/>
            <a:chExt cx="556222" cy="389418"/>
          </a:xfrm>
        </p:grpSpPr>
        <p:sp>
          <p:nvSpPr>
            <p:cNvPr id="270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7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2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73" name="Групувати 272"/>
          <p:cNvGrpSpPr/>
          <p:nvPr/>
        </p:nvGrpSpPr>
        <p:grpSpPr>
          <a:xfrm>
            <a:off x="4269320" y="4174680"/>
            <a:ext cx="467812" cy="376227"/>
            <a:chOff x="263352" y="4001463"/>
            <a:chExt cx="556222" cy="389418"/>
          </a:xfrm>
        </p:grpSpPr>
        <p:sp>
          <p:nvSpPr>
            <p:cNvPr id="27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8 (4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6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77" name="Групувати 276"/>
          <p:cNvGrpSpPr/>
          <p:nvPr/>
        </p:nvGrpSpPr>
        <p:grpSpPr>
          <a:xfrm>
            <a:off x="5771585" y="2684054"/>
            <a:ext cx="467812" cy="376227"/>
            <a:chOff x="263352" y="4001463"/>
            <a:chExt cx="556222" cy="389418"/>
          </a:xfrm>
        </p:grpSpPr>
        <p:sp>
          <p:nvSpPr>
            <p:cNvPr id="278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2 (4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9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0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7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1" name="Групувати 280"/>
          <p:cNvGrpSpPr/>
          <p:nvPr/>
        </p:nvGrpSpPr>
        <p:grpSpPr>
          <a:xfrm>
            <a:off x="2838592" y="1915317"/>
            <a:ext cx="467812" cy="376227"/>
            <a:chOff x="263352" y="4001463"/>
            <a:chExt cx="556222" cy="389418"/>
          </a:xfrm>
        </p:grpSpPr>
        <p:sp>
          <p:nvSpPr>
            <p:cNvPr id="28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1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3 (5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5" name="Групувати 284"/>
          <p:cNvGrpSpPr/>
          <p:nvPr/>
        </p:nvGrpSpPr>
        <p:grpSpPr>
          <a:xfrm>
            <a:off x="5890470" y="1871706"/>
            <a:ext cx="467812" cy="376227"/>
            <a:chOff x="263352" y="4001463"/>
            <a:chExt cx="556222" cy="389418"/>
          </a:xfrm>
        </p:grpSpPr>
        <p:sp>
          <p:nvSpPr>
            <p:cNvPr id="286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7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3 (5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8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4 (18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9" name="Групувати 288"/>
          <p:cNvGrpSpPr/>
          <p:nvPr/>
        </p:nvGrpSpPr>
        <p:grpSpPr>
          <a:xfrm>
            <a:off x="2315115" y="2855171"/>
            <a:ext cx="467812" cy="243529"/>
            <a:chOff x="263352" y="4001463"/>
            <a:chExt cx="556222" cy="252068"/>
          </a:xfrm>
        </p:grpSpPr>
        <p:sp>
          <p:nvSpPr>
            <p:cNvPr id="290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6 (16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9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93" name="Групувати 292"/>
          <p:cNvGrpSpPr/>
          <p:nvPr/>
        </p:nvGrpSpPr>
        <p:grpSpPr>
          <a:xfrm>
            <a:off x="2931052" y="2794298"/>
            <a:ext cx="467812" cy="243529"/>
            <a:chOff x="263352" y="4001463"/>
            <a:chExt cx="556222" cy="252068"/>
          </a:xfrm>
        </p:grpSpPr>
        <p:sp>
          <p:nvSpPr>
            <p:cNvPr id="29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2 (21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9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4 (3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01" name="Групувати 300"/>
          <p:cNvGrpSpPr/>
          <p:nvPr/>
        </p:nvGrpSpPr>
        <p:grpSpPr>
          <a:xfrm>
            <a:off x="5912792" y="4464141"/>
            <a:ext cx="467812" cy="376227"/>
            <a:chOff x="263352" y="4001463"/>
            <a:chExt cx="556222" cy="389418"/>
          </a:xfrm>
        </p:grpSpPr>
        <p:sp>
          <p:nvSpPr>
            <p:cNvPr id="30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1 (3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11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05" name="Групувати 304"/>
          <p:cNvGrpSpPr/>
          <p:nvPr/>
        </p:nvGrpSpPr>
        <p:grpSpPr>
          <a:xfrm>
            <a:off x="4781626" y="3030698"/>
            <a:ext cx="467812" cy="376227"/>
            <a:chOff x="263352" y="4001463"/>
            <a:chExt cx="556222" cy="389418"/>
          </a:xfrm>
        </p:grpSpPr>
        <p:sp>
          <p:nvSpPr>
            <p:cNvPr id="306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7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8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4 (1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13" name="Групувати 312"/>
          <p:cNvGrpSpPr/>
          <p:nvPr/>
        </p:nvGrpSpPr>
        <p:grpSpPr>
          <a:xfrm>
            <a:off x="5054792" y="1745198"/>
            <a:ext cx="467812" cy="376227"/>
            <a:chOff x="263352" y="4001463"/>
            <a:chExt cx="556222" cy="389418"/>
          </a:xfrm>
        </p:grpSpPr>
        <p:sp>
          <p:nvSpPr>
            <p:cNvPr id="31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1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1 (8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6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38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aphicFrame>
        <p:nvGraphicFramePr>
          <p:cNvPr id="194" name="Table 194"/>
          <p:cNvGraphicFramePr>
            <a:graphicFrameLocks noGrp="1"/>
          </p:cNvGraphicFramePr>
          <p:nvPr>
            <p:extLst/>
          </p:nvPr>
        </p:nvGraphicFramePr>
        <p:xfrm>
          <a:off x="249077" y="5435534"/>
          <a:ext cx="5055092" cy="1165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67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583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159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Об'єднані</a:t>
                      </a:r>
                      <a:r>
                        <a:rPr lang="uk-UA" sz="8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громади в яких відбулися перші місцеві вибори у 2015</a:t>
                      </a:r>
                      <a:r>
                        <a:rPr lang="en-US" sz="8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uk-UA" sz="8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році</a:t>
                      </a:r>
                      <a:endParaRPr lang="uk-UA" sz="80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(794)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Територіаль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громади </a:t>
                      </a: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у складі об'єднань, де 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відбулися перші місцеві вибори у 2015</a:t>
                      </a:r>
                      <a:r>
                        <a:rPr lang="en-US" sz="800" baseline="0" noProof="0" dirty="0"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році</a:t>
                      </a: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208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05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б'єднані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громади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яких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ідбулися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ерші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місцеві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вибори</a:t>
                      </a:r>
                      <a:r>
                        <a:rPr lang="ru-RU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 у 2016 </a:t>
                      </a:r>
                      <a:r>
                        <a:rPr lang="ru-RU" sz="800" kern="1200" baseline="0" noProof="0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році</a:t>
                      </a:r>
                      <a:endParaRPr lang="ru-RU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(946)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05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Територіаль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громади </a:t>
                      </a: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у складі об'єднань, де 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відбулися перші місцеві вибори у 2015</a:t>
                      </a:r>
                      <a:r>
                        <a:rPr lang="en-US" sz="800" baseline="0" noProof="0" dirty="0">
                          <a:latin typeface="Cambria" panose="02040503050406030204" pitchFamily="18" charset="0"/>
                        </a:rPr>
                        <a:t> 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році</a:t>
                      </a: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530096030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</a:rPr>
                        <a:t>47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Об'єдна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громади, </a:t>
                      </a: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щодо яких ЦВК оголошено вибори на 30 квітня 2017 року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</a:rPr>
                        <a:t>(232)</a:t>
                      </a:r>
                      <a:endParaRPr lang="uk-UA" sz="800" b="1" noProof="0" dirty="0">
                        <a:solidFill>
                          <a:srgbClr val="002060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Територіаль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громади </a:t>
                      </a: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у складі об'єднань, де ЦВК оголошено на 30 квітня 2017 року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201" name="Rectangle 3"/>
          <p:cNvSpPr txBox="1">
            <a:spLocks noChangeArrowheads="1"/>
          </p:cNvSpPr>
          <p:nvPr/>
        </p:nvSpPr>
        <p:spPr bwMode="auto">
          <a:xfrm>
            <a:off x="78095" y="1445342"/>
            <a:ext cx="1571453" cy="4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</a:rPr>
              <a:t>Перші місцеві вибори проведено в</a:t>
            </a:r>
          </a:p>
        </p:txBody>
      </p:sp>
      <p:sp>
        <p:nvSpPr>
          <p:cNvPr id="202" name="Rectangle 3"/>
          <p:cNvSpPr txBox="1">
            <a:spLocks noChangeArrowheads="1"/>
          </p:cNvSpPr>
          <p:nvPr/>
        </p:nvSpPr>
        <p:spPr bwMode="auto">
          <a:xfrm>
            <a:off x="118110" y="2196845"/>
            <a:ext cx="1463951" cy="23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</a:rPr>
              <a:t>об'єднаних громадах</a:t>
            </a:r>
          </a:p>
        </p:txBody>
      </p:sp>
      <p:sp>
        <p:nvSpPr>
          <p:cNvPr id="205" name="Rectangle 3"/>
          <p:cNvSpPr txBox="1">
            <a:spLocks noChangeArrowheads="1"/>
          </p:cNvSpPr>
          <p:nvPr/>
        </p:nvSpPr>
        <p:spPr bwMode="auto">
          <a:xfrm>
            <a:off x="278253" y="1868660"/>
            <a:ext cx="1027858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4050" b="1" dirty="0">
                <a:solidFill>
                  <a:srgbClr val="1D89CB"/>
                </a:solidFill>
                <a:latin typeface="Calibri" pitchFamily="34" charset="0"/>
              </a:rPr>
              <a:t>366</a:t>
            </a:r>
            <a:endParaRPr lang="uk-UA" altLang="ru-RU" sz="240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grpSp>
        <p:nvGrpSpPr>
          <p:cNvPr id="3" name="Групувати 2"/>
          <p:cNvGrpSpPr/>
          <p:nvPr/>
        </p:nvGrpSpPr>
        <p:grpSpPr>
          <a:xfrm>
            <a:off x="5243031" y="3523759"/>
            <a:ext cx="471917" cy="387875"/>
            <a:chOff x="5243031" y="3523759"/>
            <a:chExt cx="471917" cy="387875"/>
          </a:xfrm>
        </p:grpSpPr>
        <p:sp>
          <p:nvSpPr>
            <p:cNvPr id="257" name="Прямоугольник 181"/>
            <p:cNvSpPr/>
            <p:nvPr/>
          </p:nvSpPr>
          <p:spPr>
            <a:xfrm>
              <a:off x="5247756" y="3523759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59" name="Прямоугольник 181"/>
            <p:cNvSpPr/>
            <p:nvPr/>
          </p:nvSpPr>
          <p:spPr>
            <a:xfrm>
              <a:off x="5247136" y="3664039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1" name="Прямоугольник 181"/>
            <p:cNvSpPr/>
            <p:nvPr/>
          </p:nvSpPr>
          <p:spPr>
            <a:xfrm>
              <a:off x="5243031" y="3814825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4" name="Групувати 3"/>
          <p:cNvGrpSpPr/>
          <p:nvPr/>
        </p:nvGrpSpPr>
        <p:grpSpPr>
          <a:xfrm>
            <a:off x="8050243" y="2984805"/>
            <a:ext cx="471112" cy="389242"/>
            <a:chOff x="8050243" y="2984805"/>
            <a:chExt cx="471112" cy="389242"/>
          </a:xfrm>
        </p:grpSpPr>
        <p:sp>
          <p:nvSpPr>
            <p:cNvPr id="266" name="Прямоугольник 181"/>
            <p:cNvSpPr/>
            <p:nvPr/>
          </p:nvSpPr>
          <p:spPr>
            <a:xfrm>
              <a:off x="8050863" y="2984805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7" name="Прямоугольник 181"/>
            <p:cNvSpPr/>
            <p:nvPr/>
          </p:nvSpPr>
          <p:spPr>
            <a:xfrm>
              <a:off x="8050243" y="3125085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2" name="Прямоугольник 181"/>
            <p:cNvSpPr/>
            <p:nvPr/>
          </p:nvSpPr>
          <p:spPr>
            <a:xfrm>
              <a:off x="8054163" y="3277238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1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5" name="Групувати 4"/>
          <p:cNvGrpSpPr/>
          <p:nvPr/>
        </p:nvGrpSpPr>
        <p:grpSpPr>
          <a:xfrm>
            <a:off x="6984202" y="2856854"/>
            <a:ext cx="467192" cy="240396"/>
            <a:chOff x="6984202" y="2856854"/>
            <a:chExt cx="467192" cy="240396"/>
          </a:xfrm>
        </p:grpSpPr>
        <p:sp>
          <p:nvSpPr>
            <p:cNvPr id="299" name="Прямоугольник 181"/>
            <p:cNvSpPr/>
            <p:nvPr/>
          </p:nvSpPr>
          <p:spPr>
            <a:xfrm>
              <a:off x="6984202" y="2856854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4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5" name="Прямоугольник 181"/>
            <p:cNvSpPr/>
            <p:nvPr/>
          </p:nvSpPr>
          <p:spPr>
            <a:xfrm>
              <a:off x="6984202" y="3000441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6" name="Групувати 5"/>
          <p:cNvGrpSpPr/>
          <p:nvPr/>
        </p:nvGrpSpPr>
        <p:grpSpPr>
          <a:xfrm>
            <a:off x="2462460" y="3769915"/>
            <a:ext cx="467812" cy="391020"/>
            <a:chOff x="2462460" y="3769915"/>
            <a:chExt cx="467812" cy="391020"/>
          </a:xfrm>
        </p:grpSpPr>
        <p:sp>
          <p:nvSpPr>
            <p:cNvPr id="310" name="Прямоугольник 181"/>
            <p:cNvSpPr/>
            <p:nvPr/>
          </p:nvSpPr>
          <p:spPr>
            <a:xfrm>
              <a:off x="2463080" y="3769915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1" name="Прямоугольник 181"/>
            <p:cNvSpPr/>
            <p:nvPr/>
          </p:nvSpPr>
          <p:spPr>
            <a:xfrm>
              <a:off x="2462460" y="3910195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6" name="Прямоугольник 181"/>
            <p:cNvSpPr/>
            <p:nvPr/>
          </p:nvSpPr>
          <p:spPr>
            <a:xfrm>
              <a:off x="2462460" y="4064126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8201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755577" y="174745"/>
            <a:ext cx="7260570" cy="59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575" b="1" dirty="0">
                <a:solidFill>
                  <a:srgbClr val="1D89CB"/>
                </a:solidFill>
                <a:latin typeface="Cambria" panose="02040503050406030204" pitchFamily="18" charset="0"/>
              </a:rPr>
              <a:t>СПІВРОБІТНИЦТВО ТЕРИТОРІАЛЬНИХ ГРОМАД</a:t>
            </a:r>
          </a:p>
        </p:txBody>
      </p:sp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400818" y="404664"/>
            <a:ext cx="8275638" cy="5521072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825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5" y="401446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2054157" y="2564904"/>
            <a:ext cx="729840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943101" y="1808820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658504" y="1851766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220969" y="1970838"/>
            <a:ext cx="70295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755577" y="2985846"/>
            <a:ext cx="727208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278614" y="3309882"/>
            <a:ext cx="647798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1547664" y="2931840"/>
            <a:ext cx="914769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556475" y="2391780"/>
            <a:ext cx="576887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646185" y="2510944"/>
            <a:ext cx="712061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275856" y="2769822"/>
            <a:ext cx="558634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Вінницька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3923928" y="2121750"/>
            <a:ext cx="51592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572000" y="2715816"/>
            <a:ext cx="58309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3761910" y="3525906"/>
            <a:ext cx="50315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4355976" y="3525906"/>
            <a:ext cx="755275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201231" y="3835948"/>
            <a:ext cx="621951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ерсонська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030163" y="3537012"/>
            <a:ext cx="60923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4798977" y="3093858"/>
            <a:ext cx="74513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5647303" y="3093858"/>
            <a:ext cx="85226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148065" y="2445786"/>
            <a:ext cx="606707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Полта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586116" y="1700808"/>
            <a:ext cx="68796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292081" y="1754814"/>
            <a:ext cx="110680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6345521" y="2456892"/>
            <a:ext cx="60981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654082" y="2672916"/>
            <a:ext cx="59032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7308304" y="3160784"/>
            <a:ext cx="553563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355977" y="2304063"/>
            <a:ext cx="43132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м. Київ</a:t>
            </a:r>
          </a:p>
        </p:txBody>
      </p:sp>
      <p:graphicFrame>
        <p:nvGraphicFramePr>
          <p:cNvPr id="194" name="Table 194"/>
          <p:cNvGraphicFramePr>
            <a:graphicFrameLocks noGrp="1"/>
          </p:cNvGraphicFramePr>
          <p:nvPr>
            <p:extLst/>
          </p:nvPr>
        </p:nvGraphicFramePr>
        <p:xfrm>
          <a:off x="130063" y="3701565"/>
          <a:ext cx="7722858" cy="23545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89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9639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07442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3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и</a:t>
                      </a:r>
                    </a:p>
                    <a:p>
                      <a:pPr algn="ctr"/>
                      <a:endParaRPr lang="uk-UA" sz="800" b="1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13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</a:p>
                    <a:p>
                      <a:pPr algn="ctr"/>
                      <a:endParaRPr lang="uk-UA" sz="800" b="1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28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  <a:endParaRPr lang="uk-UA" sz="800" b="1" noProof="0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Транспортне обслуговування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Ремонт дорожнього покритт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Придбання спеціальної техніки для комунальних підприємств (збирання і вивезення сміття) та поводження із ТП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19 проекті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світні заклади (дошкільні, шкільні)</a:t>
                      </a: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7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проекті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Медич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установи</a:t>
                      </a: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5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ожежні ДЕПО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endParaRPr lang="uk-UA" sz="800" b="1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88" name="Прямоугольник 181"/>
          <p:cNvSpPr/>
          <p:nvPr/>
        </p:nvSpPr>
        <p:spPr>
          <a:xfrm>
            <a:off x="2016841" y="1943857"/>
            <a:ext cx="503373" cy="12912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8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2" name="Прямоугольник 181"/>
          <p:cNvSpPr/>
          <p:nvPr/>
        </p:nvSpPr>
        <p:spPr>
          <a:xfrm>
            <a:off x="3372629" y="291384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3" name="Прямоугольник 181"/>
          <p:cNvSpPr/>
          <p:nvPr/>
        </p:nvSpPr>
        <p:spPr>
          <a:xfrm>
            <a:off x="5657398" y="3271906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3" name="Прямоугольник 181"/>
          <p:cNvSpPr/>
          <p:nvPr/>
        </p:nvSpPr>
        <p:spPr>
          <a:xfrm>
            <a:off x="3337700" y="2156604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 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7" name="Прямоугольник 181"/>
          <p:cNvSpPr/>
          <p:nvPr/>
        </p:nvSpPr>
        <p:spPr>
          <a:xfrm>
            <a:off x="1123203" y="3158971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0" name="Прямоугольник 181"/>
          <p:cNvSpPr/>
          <p:nvPr/>
        </p:nvSpPr>
        <p:spPr>
          <a:xfrm>
            <a:off x="1714960" y="3109888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0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3" name="Прямоугольник 181"/>
          <p:cNvSpPr/>
          <p:nvPr/>
        </p:nvSpPr>
        <p:spPr>
          <a:xfrm>
            <a:off x="4139952" y="2564904"/>
            <a:ext cx="420723" cy="1848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2" name="Прямоугольник 181"/>
          <p:cNvSpPr/>
          <p:nvPr/>
        </p:nvSpPr>
        <p:spPr>
          <a:xfrm>
            <a:off x="3786847" y="369179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16" name="Прямоугольник 181"/>
          <p:cNvSpPr/>
          <p:nvPr/>
        </p:nvSpPr>
        <p:spPr>
          <a:xfrm>
            <a:off x="5333362" y="2597479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>
                <a:solidFill>
                  <a:prstClr val="white"/>
                </a:solidFill>
                <a:latin typeface="Calibri" panose="020F0502020204030204"/>
              </a:rPr>
              <a:t>33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4" name="Прямоугольник 181"/>
          <p:cNvSpPr/>
          <p:nvPr/>
        </p:nvSpPr>
        <p:spPr>
          <a:xfrm>
            <a:off x="5387368" y="1916833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0" name="Прямоугольник 181"/>
          <p:cNvSpPr/>
          <p:nvPr/>
        </p:nvSpPr>
        <p:spPr>
          <a:xfrm>
            <a:off x="2743383" y="267784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4" name="Прямоугольник 181"/>
          <p:cNvSpPr/>
          <p:nvPr/>
        </p:nvSpPr>
        <p:spPr>
          <a:xfrm>
            <a:off x="4450248" y="2881618"/>
            <a:ext cx="416614" cy="1501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5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6" name="Прямоугольник 181"/>
          <p:cNvSpPr/>
          <p:nvPr/>
        </p:nvSpPr>
        <p:spPr>
          <a:xfrm>
            <a:off x="4698860" y="1906517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6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1" name="Rectangle 3"/>
          <p:cNvSpPr txBox="1">
            <a:spLocks noChangeArrowheads="1"/>
          </p:cNvSpPr>
          <p:nvPr/>
        </p:nvSpPr>
        <p:spPr bwMode="auto">
          <a:xfrm>
            <a:off x="70644" y="1289129"/>
            <a:ext cx="1571453" cy="10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endParaRPr lang="uk-UA" altLang="ru-RU" sz="1050" dirty="0">
              <a:solidFill>
                <a:prstClr val="black">
                  <a:lumMod val="75000"/>
                  <a:lumOff val="25000"/>
                </a:prstClr>
              </a:solidFill>
              <a:latin typeface="Cambria" panose="02040503050406030204" pitchFamily="18" charset="0"/>
            </a:endParaRPr>
          </a:p>
        </p:txBody>
      </p:sp>
      <p:sp>
        <p:nvSpPr>
          <p:cNvPr id="202" name="Rectangle 3"/>
          <p:cNvSpPr txBox="1">
            <a:spLocks noChangeArrowheads="1"/>
          </p:cNvSpPr>
          <p:nvPr/>
        </p:nvSpPr>
        <p:spPr bwMode="auto">
          <a:xfrm>
            <a:off x="197514" y="2294874"/>
            <a:ext cx="1296144" cy="44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anose="02040503050406030204" pitchFamily="18" charset="0"/>
              </a:rPr>
              <a:t>Договорів </a:t>
            </a:r>
          </a:p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anose="02040503050406030204" pitchFamily="18" charset="0"/>
              </a:rPr>
              <a:t>(більше 378 громад)</a:t>
            </a:r>
          </a:p>
        </p:txBody>
      </p:sp>
      <p:sp>
        <p:nvSpPr>
          <p:cNvPr id="205" name="Rectangle 3"/>
          <p:cNvSpPr txBox="1">
            <a:spLocks noChangeArrowheads="1"/>
          </p:cNvSpPr>
          <p:nvPr/>
        </p:nvSpPr>
        <p:spPr bwMode="auto">
          <a:xfrm>
            <a:off x="464293" y="1891116"/>
            <a:ext cx="1027858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4050" b="1" dirty="0">
                <a:solidFill>
                  <a:srgbClr val="1D89CB"/>
                </a:solidFill>
                <a:latin typeface="Calibri" pitchFamily="34" charset="0"/>
              </a:rPr>
              <a:t>75</a:t>
            </a:r>
            <a:endParaRPr lang="uk-UA" altLang="ru-RU" sz="240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sp>
        <p:nvSpPr>
          <p:cNvPr id="225" name="Rectangle 3"/>
          <p:cNvSpPr txBox="1">
            <a:spLocks noChangeArrowheads="1"/>
          </p:cNvSpPr>
          <p:nvPr/>
        </p:nvSpPr>
        <p:spPr bwMode="auto">
          <a:xfrm>
            <a:off x="1115616" y="2029768"/>
            <a:ext cx="217899" cy="21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endParaRPr lang="uk-UA" altLang="ru-RU" sz="105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sp>
        <p:nvSpPr>
          <p:cNvPr id="97" name="Прямоугольник 181"/>
          <p:cNvSpPr/>
          <p:nvPr/>
        </p:nvSpPr>
        <p:spPr>
          <a:xfrm>
            <a:off x="4902944" y="329440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00492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504056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Основні переваги об'єднаних територіальних громад</a:t>
            </a: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87" y="3765202"/>
            <a:ext cx="4281697" cy="2976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круглена прямокутна виноска 4"/>
          <p:cNvSpPr/>
          <p:nvPr/>
        </p:nvSpPr>
        <p:spPr>
          <a:xfrm>
            <a:off x="251520" y="620688"/>
            <a:ext cx="4176464" cy="3312368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177800" algn="just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'єднані громади</a:t>
            </a: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діляються додатковими повноваженнями та відповідними фінансовими  ресурсами, в яких залишається:</a:t>
            </a:r>
          </a:p>
          <a:p>
            <a:pPr lvl="0" algn="just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 податку на доходи фізичних осіб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 екологічного податку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 акцизного податку з роздрібної торгівлі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єдиного податку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податку на прибуток установ комунальної власності та фінансових установ комунальної власності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податку на майно (нерухомість, земля, транспорт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ші збори та платежі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жбюджетні трансферти (дотації, субвенції) та надходження в рамках програм і допомог</a:t>
            </a:r>
          </a:p>
          <a:p>
            <a:pPr algn="ctr"/>
            <a:endParaRPr lang="uk-UA" dirty="0"/>
          </a:p>
        </p:txBody>
      </p:sp>
      <p:sp>
        <p:nvSpPr>
          <p:cNvPr id="8" name="Округлений прямокутник 7"/>
          <p:cNvSpPr/>
          <p:nvPr/>
        </p:nvSpPr>
        <p:spPr>
          <a:xfrm>
            <a:off x="4644008" y="620688"/>
            <a:ext cx="4248472" cy="583264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uk-UA" sz="1200" dirty="0">
              <a:solidFill>
                <a:schemeClr val="tx1"/>
              </a:solidFill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</a:pP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spcBef>
                <a:spcPts val="600"/>
              </a:spcBef>
              <a:spcAft>
                <a:spcPts val="600"/>
              </a:spcAft>
            </a:pPr>
            <a:endParaRPr lang="uk-UA" sz="800" b="1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spcBef>
                <a:spcPts val="600"/>
              </a:spcBef>
              <a:spcAft>
                <a:spcPts val="600"/>
              </a:spcAft>
            </a:pP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'єднані громади отримали можливість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йти на прямі міжбюджетні відносини з державним бюджетом;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имувати з державного бюджету кошти на формування інфраструктури згідно з планом соціально-економічного розвитку територіальної громади;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стійно вирішувати питання розвитку своєї території  та виконувати власні повноваження;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ономити бюджетні кошти на утримання органів управління та інфраструктури;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увати делеговані державні повноваження, зокрема: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вати соціальну допомогу населенню через територіальні центри (в громадах)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іністративні послуги через центри їх надання (в громадах)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іння школами та дитсадками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ізація первинної медичної допомоги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римання та організація роботи будинків культури, клубів, бібліотек, стадіонів, спортивних залів, інших закладів та установ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uk-UA" sz="1200" dirty="0">
              <a:solidFill>
                <a:schemeClr val="tx1"/>
              </a:solidFill>
            </a:endParaRPr>
          </a:p>
          <a:p>
            <a:pPr algn="ctr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47759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24744"/>
            <a:ext cx="8856984" cy="547260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Зміцнення фінансової спроможності об'єднаних територіальних громад</a:t>
            </a: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03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789744" y="200977"/>
            <a:ext cx="7260570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575" b="1" dirty="0">
                <a:solidFill>
                  <a:srgbClr val="1D89CB"/>
                </a:solidFill>
                <a:latin typeface="Cambria" panose="02040503050406030204" pitchFamily="18" charset="0"/>
              </a:rPr>
              <a:t>ПІДТРИМКА ОБ'ЄДНАНИХ ТЕРИТОРІАЛЬНИХ ГРОМАД ПРОЕКТАМИ МТД В УКРАЇНІ</a:t>
            </a:r>
          </a:p>
        </p:txBody>
      </p:sp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859492" y="1125926"/>
            <a:ext cx="7215614" cy="4104456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825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5" y="401446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Arial"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2079480" y="2502208"/>
            <a:ext cx="72984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943101" y="1808820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658504" y="1851766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220969" y="1970838"/>
            <a:ext cx="70295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755577" y="2985846"/>
            <a:ext cx="727208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304022" y="3225343"/>
            <a:ext cx="647798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1453627" y="2906801"/>
            <a:ext cx="914769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672855" y="2348880"/>
            <a:ext cx="576887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685499" y="2460383"/>
            <a:ext cx="71206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275856" y="2769822"/>
            <a:ext cx="558634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Вінницька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3923928" y="2121750"/>
            <a:ext cx="515926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572000" y="2715816"/>
            <a:ext cx="58309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3761910" y="3525906"/>
            <a:ext cx="50315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4355976" y="3525906"/>
            <a:ext cx="755275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307608" y="3841361"/>
            <a:ext cx="62195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Херсонська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030163" y="3537012"/>
            <a:ext cx="609236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4798977" y="3093858"/>
            <a:ext cx="74513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5726390" y="3032944"/>
            <a:ext cx="852269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586116" y="1700808"/>
            <a:ext cx="68796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269694" y="1782231"/>
            <a:ext cx="110680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6345521" y="2456892"/>
            <a:ext cx="60981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218294" y="2672916"/>
            <a:ext cx="59032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865941" y="3039852"/>
            <a:ext cx="553563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355977" y="2304063"/>
            <a:ext cx="43132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м. Київ</a:t>
            </a:r>
          </a:p>
        </p:txBody>
      </p:sp>
      <p:sp>
        <p:nvSpPr>
          <p:cNvPr id="88" name="Прямоугольник 181"/>
          <p:cNvSpPr/>
          <p:nvPr/>
        </p:nvSpPr>
        <p:spPr>
          <a:xfrm>
            <a:off x="2016841" y="1950712"/>
            <a:ext cx="382069" cy="12226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2" name="Прямоугольник 181"/>
          <p:cNvSpPr/>
          <p:nvPr/>
        </p:nvSpPr>
        <p:spPr>
          <a:xfrm>
            <a:off x="3371598" y="2913840"/>
            <a:ext cx="426947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3" name="Прямоугольник 181"/>
          <p:cNvSpPr/>
          <p:nvPr/>
        </p:nvSpPr>
        <p:spPr>
          <a:xfrm>
            <a:off x="3345790" y="2160772"/>
            <a:ext cx="374291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7" name="Прямоугольник 181"/>
          <p:cNvSpPr/>
          <p:nvPr/>
        </p:nvSpPr>
        <p:spPr>
          <a:xfrm>
            <a:off x="1123203" y="3158971"/>
            <a:ext cx="375810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0" name="Прямоугольник 181"/>
          <p:cNvSpPr/>
          <p:nvPr/>
        </p:nvSpPr>
        <p:spPr>
          <a:xfrm>
            <a:off x="1708930" y="3051707"/>
            <a:ext cx="435932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3" name="Прямоугольник 181"/>
          <p:cNvSpPr/>
          <p:nvPr/>
        </p:nvSpPr>
        <p:spPr>
          <a:xfrm>
            <a:off x="4139953" y="2557323"/>
            <a:ext cx="370658" cy="1230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4" name="Прямоугольник 181"/>
          <p:cNvSpPr/>
          <p:nvPr/>
        </p:nvSpPr>
        <p:spPr>
          <a:xfrm>
            <a:off x="1552942" y="2510899"/>
            <a:ext cx="416614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0" name="Прямоугольник 181"/>
          <p:cNvSpPr/>
          <p:nvPr/>
        </p:nvSpPr>
        <p:spPr>
          <a:xfrm>
            <a:off x="4614679" y="3948514"/>
            <a:ext cx="431786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2" name="Прямоугольник 181"/>
          <p:cNvSpPr/>
          <p:nvPr/>
        </p:nvSpPr>
        <p:spPr>
          <a:xfrm>
            <a:off x="3786847" y="3691790"/>
            <a:ext cx="37691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0" name="Прямоугольник 181"/>
          <p:cNvSpPr/>
          <p:nvPr/>
        </p:nvSpPr>
        <p:spPr>
          <a:xfrm>
            <a:off x="2721874" y="2031867"/>
            <a:ext cx="384648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27" name="Групувати 226"/>
          <p:cNvGrpSpPr/>
          <p:nvPr/>
        </p:nvGrpSpPr>
        <p:grpSpPr>
          <a:xfrm>
            <a:off x="2249677" y="2643823"/>
            <a:ext cx="431786" cy="377333"/>
            <a:chOff x="4515593" y="2715485"/>
            <a:chExt cx="575714" cy="503110"/>
          </a:xfrm>
        </p:grpSpPr>
        <p:sp>
          <p:nvSpPr>
            <p:cNvPr id="228" name="Прямоугольник 181"/>
            <p:cNvSpPr/>
            <p:nvPr/>
          </p:nvSpPr>
          <p:spPr>
            <a:xfrm>
              <a:off x="4515593" y="2715485"/>
              <a:ext cx="555485" cy="18204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en-US" sz="675" dirty="0">
                  <a:solidFill>
                    <a:prstClr val="white"/>
                  </a:solidFill>
                  <a:latin typeface="Arial"/>
                </a:rPr>
                <a:t>U</a:t>
              </a:r>
              <a:r>
                <a:rPr lang="ru-RU" sz="675" dirty="0">
                  <a:solidFill>
                    <a:prstClr val="white"/>
                  </a:solidFill>
                  <a:latin typeface="Arial"/>
                </a:rPr>
                <a:t>-</a:t>
              </a:r>
              <a:r>
                <a:rPr lang="en-US" sz="675" dirty="0">
                  <a:solidFill>
                    <a:prstClr val="white"/>
                  </a:solidFill>
                  <a:latin typeface="Arial"/>
                </a:rPr>
                <a:t>LEAD</a:t>
              </a:r>
              <a:r>
                <a:rPr lang="uk-UA" sz="675" dirty="0">
                  <a:solidFill>
                    <a:prstClr val="white"/>
                  </a:solidFill>
                  <a:latin typeface="Arial"/>
                </a:rPr>
                <a:t>  </a:t>
              </a:r>
              <a:endParaRPr lang="ru-RU" sz="675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30" name="Прямоугольник 181"/>
            <p:cNvSpPr/>
            <p:nvPr/>
          </p:nvSpPr>
          <p:spPr>
            <a:xfrm>
              <a:off x="4515593" y="3042308"/>
              <a:ext cx="575714" cy="176287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  <a:softEdge rad="25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en-US" sz="675" dirty="0">
                  <a:solidFill>
                    <a:prstClr val="white"/>
                  </a:solidFill>
                  <a:latin typeface="Arial"/>
                </a:rPr>
                <a:t>DOBRE</a:t>
              </a:r>
              <a:endParaRPr lang="ru-RU" sz="675" dirty="0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240" name="Прямоугольник 181"/>
          <p:cNvSpPr/>
          <p:nvPr/>
        </p:nvSpPr>
        <p:spPr>
          <a:xfrm>
            <a:off x="2795905" y="2612482"/>
            <a:ext cx="399753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8" name="Прямоугольник 181"/>
          <p:cNvSpPr/>
          <p:nvPr/>
        </p:nvSpPr>
        <p:spPr>
          <a:xfrm>
            <a:off x="2422647" y="3376216"/>
            <a:ext cx="379021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5" name="Прямоугольник 181"/>
          <p:cNvSpPr/>
          <p:nvPr/>
        </p:nvSpPr>
        <p:spPr>
          <a:xfrm>
            <a:off x="3371597" y="3162754"/>
            <a:ext cx="425859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39" name="Прямоугольник 181"/>
          <p:cNvSpPr/>
          <p:nvPr/>
        </p:nvSpPr>
        <p:spPr>
          <a:xfrm>
            <a:off x="5572433" y="3539097"/>
            <a:ext cx="425003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41" name="Прямоугольник 181"/>
          <p:cNvSpPr/>
          <p:nvPr/>
        </p:nvSpPr>
        <p:spPr>
          <a:xfrm>
            <a:off x="6272323" y="3940767"/>
            <a:ext cx="410929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43" name="Прямоугольник 181"/>
          <p:cNvSpPr/>
          <p:nvPr/>
        </p:nvSpPr>
        <p:spPr>
          <a:xfrm>
            <a:off x="1715326" y="3426729"/>
            <a:ext cx="428165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46" name="Прямоугольник 181"/>
          <p:cNvSpPr/>
          <p:nvPr/>
        </p:nvSpPr>
        <p:spPr>
          <a:xfrm>
            <a:off x="1554187" y="2746764"/>
            <a:ext cx="410929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47" name="Прямоугольник 181"/>
          <p:cNvSpPr/>
          <p:nvPr/>
        </p:nvSpPr>
        <p:spPr>
          <a:xfrm>
            <a:off x="5300490" y="2761739"/>
            <a:ext cx="422238" cy="14217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675" dirty="0">
                <a:solidFill>
                  <a:prstClr val="white"/>
                </a:solidFill>
                <a:latin typeface="Arial"/>
              </a:rPr>
              <a:t>PLEDDG</a:t>
            </a:r>
          </a:p>
        </p:txBody>
      </p:sp>
      <p:sp>
        <p:nvSpPr>
          <p:cNvPr id="151" name="Прямоугольник 181"/>
          <p:cNvSpPr/>
          <p:nvPr/>
        </p:nvSpPr>
        <p:spPr>
          <a:xfrm>
            <a:off x="1712016" y="3297825"/>
            <a:ext cx="431475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3" name="Прямоугольник 181"/>
          <p:cNvSpPr/>
          <p:nvPr/>
        </p:nvSpPr>
        <p:spPr>
          <a:xfrm>
            <a:off x="6936601" y="3450618"/>
            <a:ext cx="373148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NDP</a:t>
            </a:r>
            <a:r>
              <a:rPr lang="uk-UA" sz="750" dirty="0">
                <a:solidFill>
                  <a:prstClr val="white"/>
                </a:solidFill>
                <a:latin typeface="Arial"/>
              </a:rPr>
              <a:t> </a:t>
            </a:r>
            <a:endParaRPr lang="ru-RU" sz="75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5" name="Прямоугольник 181"/>
          <p:cNvSpPr/>
          <p:nvPr/>
        </p:nvSpPr>
        <p:spPr>
          <a:xfrm>
            <a:off x="2805880" y="2857182"/>
            <a:ext cx="390080" cy="136532"/>
          </a:xfrm>
          <a:prstGeom prst="rect">
            <a:avLst/>
          </a:prstGeom>
          <a:solidFill>
            <a:srgbClr val="EEBB1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SPU</a:t>
            </a:r>
            <a:r>
              <a:rPr lang="uk-UA" sz="750" dirty="0">
                <a:solidFill>
                  <a:prstClr val="white"/>
                </a:solidFill>
                <a:latin typeface="Arial"/>
              </a:rPr>
              <a:t> </a:t>
            </a:r>
            <a:endParaRPr lang="ru-RU" sz="75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6" name="Прямоугольник 181"/>
          <p:cNvSpPr/>
          <p:nvPr/>
        </p:nvSpPr>
        <p:spPr>
          <a:xfrm>
            <a:off x="2012590" y="2049766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7" name="Прямоугольник 181"/>
          <p:cNvSpPr/>
          <p:nvPr/>
        </p:nvSpPr>
        <p:spPr>
          <a:xfrm>
            <a:off x="2719492" y="2157102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8" name="Прямоугольник 181"/>
          <p:cNvSpPr/>
          <p:nvPr/>
        </p:nvSpPr>
        <p:spPr>
          <a:xfrm>
            <a:off x="3345790" y="2281094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9" name="Прямоугольник 181"/>
          <p:cNvSpPr/>
          <p:nvPr/>
        </p:nvSpPr>
        <p:spPr>
          <a:xfrm>
            <a:off x="4129187" y="2667554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0" name="Прямоугольник 181"/>
          <p:cNvSpPr/>
          <p:nvPr/>
        </p:nvSpPr>
        <p:spPr>
          <a:xfrm>
            <a:off x="3368242" y="3041622"/>
            <a:ext cx="429215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1" name="Прямоугольник 181"/>
          <p:cNvSpPr/>
          <p:nvPr/>
        </p:nvSpPr>
        <p:spPr>
          <a:xfrm>
            <a:off x="2801197" y="2728483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5" name="Прямоугольник 181"/>
          <p:cNvSpPr/>
          <p:nvPr/>
        </p:nvSpPr>
        <p:spPr>
          <a:xfrm>
            <a:off x="2248932" y="2769030"/>
            <a:ext cx="413347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8" name="Прямоугольник 181"/>
          <p:cNvSpPr/>
          <p:nvPr/>
        </p:nvSpPr>
        <p:spPr>
          <a:xfrm>
            <a:off x="1552941" y="2628413"/>
            <a:ext cx="416123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3" name="Прямоугольник 181"/>
          <p:cNvSpPr/>
          <p:nvPr/>
        </p:nvSpPr>
        <p:spPr>
          <a:xfrm>
            <a:off x="2417519" y="3508492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6" name="Прямоугольник 181"/>
          <p:cNvSpPr/>
          <p:nvPr/>
        </p:nvSpPr>
        <p:spPr>
          <a:xfrm>
            <a:off x="1715209" y="3168789"/>
            <a:ext cx="429653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9" name="Прямоугольник 181"/>
          <p:cNvSpPr/>
          <p:nvPr/>
        </p:nvSpPr>
        <p:spPr>
          <a:xfrm>
            <a:off x="1126093" y="3286867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3" name="Прямоугольник 181"/>
          <p:cNvSpPr/>
          <p:nvPr/>
        </p:nvSpPr>
        <p:spPr>
          <a:xfrm>
            <a:off x="3786654" y="3813586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7" name="Прямоугольник 181"/>
          <p:cNvSpPr/>
          <p:nvPr/>
        </p:nvSpPr>
        <p:spPr>
          <a:xfrm>
            <a:off x="4665973" y="2853394"/>
            <a:ext cx="370658" cy="1230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1" name="Прямоугольник 181"/>
          <p:cNvSpPr/>
          <p:nvPr/>
        </p:nvSpPr>
        <p:spPr>
          <a:xfrm>
            <a:off x="4655208" y="2963625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3" name="Прямоугольник 181"/>
          <p:cNvSpPr/>
          <p:nvPr/>
        </p:nvSpPr>
        <p:spPr>
          <a:xfrm>
            <a:off x="4712093" y="1851766"/>
            <a:ext cx="370658" cy="1230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6" name="Прямоугольник 181"/>
          <p:cNvSpPr/>
          <p:nvPr/>
        </p:nvSpPr>
        <p:spPr>
          <a:xfrm>
            <a:off x="4701328" y="1961997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9" name="Прямоугольник 181"/>
          <p:cNvSpPr/>
          <p:nvPr/>
        </p:nvSpPr>
        <p:spPr>
          <a:xfrm>
            <a:off x="5319335" y="1920629"/>
            <a:ext cx="426246" cy="1230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1" name="Прямоугольник 181"/>
          <p:cNvSpPr/>
          <p:nvPr/>
        </p:nvSpPr>
        <p:spPr>
          <a:xfrm>
            <a:off x="5322904" y="2025512"/>
            <a:ext cx="42267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3" name="Прямоугольник 181"/>
          <p:cNvSpPr/>
          <p:nvPr/>
        </p:nvSpPr>
        <p:spPr>
          <a:xfrm>
            <a:off x="6932917" y="3210537"/>
            <a:ext cx="376832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6" name="Прямоугольник 181"/>
          <p:cNvSpPr/>
          <p:nvPr/>
        </p:nvSpPr>
        <p:spPr>
          <a:xfrm>
            <a:off x="6932723" y="3332333"/>
            <a:ext cx="377025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3" name="Прямоугольник 181"/>
          <p:cNvSpPr/>
          <p:nvPr/>
        </p:nvSpPr>
        <p:spPr>
          <a:xfrm>
            <a:off x="6275989" y="3694563"/>
            <a:ext cx="415635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4" name="Прямоугольник 181"/>
          <p:cNvSpPr/>
          <p:nvPr/>
        </p:nvSpPr>
        <p:spPr>
          <a:xfrm>
            <a:off x="6275796" y="3816359"/>
            <a:ext cx="41633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7" name="Прямоугольник 181"/>
          <p:cNvSpPr/>
          <p:nvPr/>
        </p:nvSpPr>
        <p:spPr>
          <a:xfrm>
            <a:off x="4612446" y="3705508"/>
            <a:ext cx="43774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9" name="Прямоугольник 181"/>
          <p:cNvSpPr/>
          <p:nvPr/>
        </p:nvSpPr>
        <p:spPr>
          <a:xfrm>
            <a:off x="4612253" y="3827304"/>
            <a:ext cx="43166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0" name="Прямоугольник 181"/>
          <p:cNvSpPr/>
          <p:nvPr/>
        </p:nvSpPr>
        <p:spPr>
          <a:xfrm>
            <a:off x="5384517" y="4232587"/>
            <a:ext cx="431786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1" name="Прямоугольник 181"/>
          <p:cNvSpPr/>
          <p:nvPr/>
        </p:nvSpPr>
        <p:spPr>
          <a:xfrm>
            <a:off x="5382283" y="3989581"/>
            <a:ext cx="43774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2" name="Прямоугольник 181"/>
          <p:cNvSpPr/>
          <p:nvPr/>
        </p:nvSpPr>
        <p:spPr>
          <a:xfrm>
            <a:off x="5382090" y="4111377"/>
            <a:ext cx="43166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3" name="Прямоугольник 181"/>
          <p:cNvSpPr/>
          <p:nvPr/>
        </p:nvSpPr>
        <p:spPr>
          <a:xfrm>
            <a:off x="4935704" y="3491683"/>
            <a:ext cx="431786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4" name="Прямоугольник 181"/>
          <p:cNvSpPr/>
          <p:nvPr/>
        </p:nvSpPr>
        <p:spPr>
          <a:xfrm>
            <a:off x="4933470" y="3248677"/>
            <a:ext cx="43774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5" name="Прямоугольник 181"/>
          <p:cNvSpPr/>
          <p:nvPr/>
        </p:nvSpPr>
        <p:spPr>
          <a:xfrm>
            <a:off x="4933277" y="3370473"/>
            <a:ext cx="43166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6" name="Прямоугольник 181"/>
          <p:cNvSpPr/>
          <p:nvPr/>
        </p:nvSpPr>
        <p:spPr>
          <a:xfrm>
            <a:off x="5572000" y="3420721"/>
            <a:ext cx="431786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7" name="Прямоугольник 181"/>
          <p:cNvSpPr/>
          <p:nvPr/>
        </p:nvSpPr>
        <p:spPr>
          <a:xfrm>
            <a:off x="5569766" y="3177715"/>
            <a:ext cx="43774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8" name="Прямоугольник 181"/>
          <p:cNvSpPr/>
          <p:nvPr/>
        </p:nvSpPr>
        <p:spPr>
          <a:xfrm>
            <a:off x="5569573" y="3299511"/>
            <a:ext cx="43166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9" name="Прямоугольник 181"/>
          <p:cNvSpPr/>
          <p:nvPr/>
        </p:nvSpPr>
        <p:spPr>
          <a:xfrm>
            <a:off x="6408033" y="2847657"/>
            <a:ext cx="431786" cy="1322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OBR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0" name="Прямоугольник 181"/>
          <p:cNvSpPr/>
          <p:nvPr/>
        </p:nvSpPr>
        <p:spPr>
          <a:xfrm>
            <a:off x="6405799" y="2604650"/>
            <a:ext cx="437749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1" name="Прямоугольник 181"/>
          <p:cNvSpPr/>
          <p:nvPr/>
        </p:nvSpPr>
        <p:spPr>
          <a:xfrm>
            <a:off x="6405606" y="2726446"/>
            <a:ext cx="431661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2" name="Прямоугольник 181"/>
          <p:cNvSpPr/>
          <p:nvPr/>
        </p:nvSpPr>
        <p:spPr>
          <a:xfrm>
            <a:off x="7372834" y="3059877"/>
            <a:ext cx="373148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NDP</a:t>
            </a:r>
            <a:r>
              <a:rPr lang="uk-UA" sz="750" dirty="0">
                <a:solidFill>
                  <a:prstClr val="white"/>
                </a:solidFill>
                <a:latin typeface="Arial"/>
              </a:rPr>
              <a:t> </a:t>
            </a:r>
            <a:endParaRPr lang="ru-RU" sz="75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3" name="Прямоугольник 181"/>
          <p:cNvSpPr/>
          <p:nvPr/>
        </p:nvSpPr>
        <p:spPr>
          <a:xfrm>
            <a:off x="7369150" y="2819796"/>
            <a:ext cx="376832" cy="1365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4" name="Прямоугольник 181"/>
          <p:cNvSpPr/>
          <p:nvPr/>
        </p:nvSpPr>
        <p:spPr>
          <a:xfrm>
            <a:off x="7368956" y="2941592"/>
            <a:ext cx="3846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8" name="Прямоугольник 181"/>
          <p:cNvSpPr/>
          <p:nvPr/>
        </p:nvSpPr>
        <p:spPr>
          <a:xfrm>
            <a:off x="3374394" y="3290603"/>
            <a:ext cx="423701" cy="14217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E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SPRO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9" name="Прямоугольник 181"/>
          <p:cNvSpPr/>
          <p:nvPr/>
        </p:nvSpPr>
        <p:spPr>
          <a:xfrm>
            <a:off x="5321881" y="2151342"/>
            <a:ext cx="423701" cy="14217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E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SPRO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0" name="Прямоугольник 181"/>
          <p:cNvSpPr/>
          <p:nvPr/>
        </p:nvSpPr>
        <p:spPr>
          <a:xfrm>
            <a:off x="5573735" y="3665166"/>
            <a:ext cx="423701" cy="14217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E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SPRO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1" name="Прямоугольник 181"/>
          <p:cNvSpPr/>
          <p:nvPr/>
        </p:nvSpPr>
        <p:spPr>
          <a:xfrm>
            <a:off x="1714663" y="3559166"/>
            <a:ext cx="423701" cy="14217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E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SPRO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2" name="Прямоугольник 181"/>
          <p:cNvSpPr/>
          <p:nvPr/>
        </p:nvSpPr>
        <p:spPr>
          <a:xfrm>
            <a:off x="5301437" y="2887167"/>
            <a:ext cx="423701" cy="14217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D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E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SPRO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5194973" y="2379062"/>
            <a:ext cx="606707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  <a:cs typeface="Arial" pitchFamily="34" charset="0"/>
              </a:rPr>
              <a:t>Полтавська</a:t>
            </a:r>
          </a:p>
        </p:txBody>
      </p:sp>
      <p:sp>
        <p:nvSpPr>
          <p:cNvPr id="284" name="Прямоугольник 181"/>
          <p:cNvSpPr/>
          <p:nvPr/>
        </p:nvSpPr>
        <p:spPr>
          <a:xfrm>
            <a:off x="5291489" y="2521457"/>
            <a:ext cx="431748" cy="13608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U</a:t>
            </a:r>
            <a:r>
              <a:rPr lang="ru-RU" sz="675" dirty="0">
                <a:solidFill>
                  <a:prstClr val="white"/>
                </a:solidFill>
                <a:latin typeface="Arial"/>
              </a:rPr>
              <a:t>-</a:t>
            </a:r>
            <a:r>
              <a:rPr lang="en-US" sz="675" dirty="0">
                <a:solidFill>
                  <a:prstClr val="white"/>
                </a:solidFill>
                <a:latin typeface="Arial"/>
              </a:rPr>
              <a:t>LEAD</a:t>
            </a:r>
            <a:r>
              <a:rPr lang="uk-UA" sz="675" dirty="0">
                <a:solidFill>
                  <a:prstClr val="white"/>
                </a:solidFill>
                <a:latin typeface="Arial"/>
              </a:rPr>
              <a:t>  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5" name="Прямоугольник 181"/>
          <p:cNvSpPr/>
          <p:nvPr/>
        </p:nvSpPr>
        <p:spPr>
          <a:xfrm>
            <a:off x="5291489" y="2636832"/>
            <a:ext cx="431748" cy="136532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en-US" sz="675" dirty="0">
                <a:solidFill>
                  <a:prstClr val="white"/>
                </a:solidFill>
                <a:latin typeface="Arial"/>
              </a:rPr>
              <a:t>PULSE</a:t>
            </a:r>
            <a:endParaRPr lang="ru-RU" sz="675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8028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ADWPhiCUWFfk1RpiSE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pbwAW6LkSmSRW0aeJx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yO1PUwbEydOWGd8yF9TQ"/>
</p:tagLst>
</file>

<file path=ppt/theme/theme1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Desig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6810" tIns="38405" rIns="76810" bIns="38405">
        <a:spAutoFit/>
      </a:bodyPr>
      <a:lstStyle>
        <a:defPPr eaLnBrk="1" hangingPunct="1">
          <a:defRPr sz="1600" b="1" dirty="0">
            <a:solidFill>
              <a:srgbClr val="002060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40</TotalTime>
  <Words>1310</Words>
  <Application>Microsoft Office PowerPoint</Application>
  <PresentationFormat>Екран (4:3)</PresentationFormat>
  <Paragraphs>395</Paragraphs>
  <Slides>10</Slides>
  <Notes>5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9</vt:i4>
      </vt:variant>
      <vt:variant>
        <vt:lpstr>Тема</vt:lpstr>
      </vt:variant>
      <vt:variant>
        <vt:i4>3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0</vt:i4>
      </vt:variant>
    </vt:vector>
  </HeadingPairs>
  <TitlesOfParts>
    <vt:vector size="23" baseType="lpstr">
      <vt:lpstr>Arial Unicode MS</vt:lpstr>
      <vt:lpstr>MS PGothic</vt:lpstr>
      <vt:lpstr>Arial</vt:lpstr>
      <vt:lpstr>Arial Black</vt:lpstr>
      <vt:lpstr>Calibri</vt:lpstr>
      <vt:lpstr>Calibri Light</vt:lpstr>
      <vt:lpstr>Cambria</vt:lpstr>
      <vt:lpstr>Times New Roman</vt:lpstr>
      <vt:lpstr>Wingdings</vt:lpstr>
      <vt:lpstr>Тема Office</vt:lpstr>
      <vt:lpstr>2_Default Design</vt:lpstr>
      <vt:lpstr>1_Тема Office</vt:lpstr>
      <vt:lpstr>think-cell Slide</vt:lpstr>
      <vt:lpstr>Презентація PowerPoint</vt:lpstr>
      <vt:lpstr> Державна політика та законодавчі зміни щодо децентралізації та реформування місцевого самоврядування в Україні </vt:lpstr>
      <vt:lpstr>Презентація PowerPoint</vt:lpstr>
      <vt:lpstr>Державна підтримка на розвиток громад та розбудову інфраструктури  </vt:lpstr>
      <vt:lpstr>Презентація PowerPoint</vt:lpstr>
      <vt:lpstr>Презентація PowerPoint</vt:lpstr>
      <vt:lpstr>Основні переваги об'єднаних територіальних громад</vt:lpstr>
      <vt:lpstr> Зміцнення фінансової спроможності об'єднаних територіальних громад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Sara Yasmeen (Wipro Technologies)</dc:creator>
  <cp:lastModifiedBy>conferenc825</cp:lastModifiedBy>
  <cp:revision>75</cp:revision>
  <cp:lastPrinted>2017-03-13T12:42:54Z</cp:lastPrinted>
  <dcterms:created xsi:type="dcterms:W3CDTF">2010-02-23T11:30:32Z</dcterms:created>
  <dcterms:modified xsi:type="dcterms:W3CDTF">2017-04-07T07:48:23Z</dcterms:modified>
</cp:coreProperties>
</file>